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</p:sldMasterIdLst>
  <p:notesMasterIdLst>
    <p:notesMasterId r:id="rId45"/>
  </p:notesMasterIdLst>
  <p:sldIdLst>
    <p:sldId id="256" r:id="rId2"/>
    <p:sldId id="257" r:id="rId3"/>
    <p:sldId id="285" r:id="rId4"/>
    <p:sldId id="290" r:id="rId5"/>
    <p:sldId id="333" r:id="rId6"/>
    <p:sldId id="293" r:id="rId7"/>
    <p:sldId id="299" r:id="rId8"/>
    <p:sldId id="302" r:id="rId9"/>
    <p:sldId id="287" r:id="rId10"/>
    <p:sldId id="288" r:id="rId11"/>
    <p:sldId id="310" r:id="rId12"/>
    <p:sldId id="294" r:id="rId13"/>
    <p:sldId id="296" r:id="rId14"/>
    <p:sldId id="315" r:id="rId15"/>
    <p:sldId id="316" r:id="rId16"/>
    <p:sldId id="317" r:id="rId17"/>
    <p:sldId id="331" r:id="rId18"/>
    <p:sldId id="311" r:id="rId19"/>
    <p:sldId id="303" r:id="rId20"/>
    <p:sldId id="319" r:id="rId21"/>
    <p:sldId id="320" r:id="rId22"/>
    <p:sldId id="332" r:id="rId23"/>
    <p:sldId id="321" r:id="rId24"/>
    <p:sldId id="330" r:id="rId25"/>
    <p:sldId id="308" r:id="rId26"/>
    <p:sldId id="304" r:id="rId27"/>
    <p:sldId id="322" r:id="rId28"/>
    <p:sldId id="323" r:id="rId29"/>
    <p:sldId id="324" r:id="rId30"/>
    <p:sldId id="328" r:id="rId31"/>
    <p:sldId id="329" r:id="rId32"/>
    <p:sldId id="325" r:id="rId33"/>
    <p:sldId id="326" r:id="rId34"/>
    <p:sldId id="327" r:id="rId35"/>
    <p:sldId id="306" r:id="rId36"/>
    <p:sldId id="300" r:id="rId37"/>
    <p:sldId id="314" r:id="rId38"/>
    <p:sldId id="301" r:id="rId39"/>
    <p:sldId id="312" r:id="rId40"/>
    <p:sldId id="313" r:id="rId41"/>
    <p:sldId id="280" r:id="rId42"/>
    <p:sldId id="281" r:id="rId43"/>
    <p:sldId id="297" r:id="rId44"/>
  </p:sldIdLst>
  <p:sldSz cx="9144000" cy="6858000" type="screen4x3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2" d="100"/>
          <a:sy n="72" d="100"/>
        </p:scale>
        <p:origin x="-102" y="2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US &amp; EU Energy Mix (2012)</a:t>
            </a:r>
            <a:endParaRPr lang="en-US" dirty="0"/>
          </a:p>
        </c:rich>
      </c:tx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nergy composition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enewables</c:v>
                </c:pt>
                <c:pt idx="1">
                  <c:v>Hydro</c:v>
                </c:pt>
                <c:pt idx="2">
                  <c:v>Gas</c:v>
                </c:pt>
                <c:pt idx="3">
                  <c:v>Nuclear</c:v>
                </c:pt>
                <c:pt idx="4">
                  <c:v>Oil</c:v>
                </c:pt>
                <c:pt idx="5">
                  <c:v>Coal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02</c:v>
                </c:pt>
                <c:pt idx="1">
                  <c:v>0.16</c:v>
                </c:pt>
                <c:pt idx="2">
                  <c:v>0.19</c:v>
                </c:pt>
                <c:pt idx="3">
                  <c:v>0.16</c:v>
                </c:pt>
                <c:pt idx="4">
                  <c:v>7.0000000000000007E-2</c:v>
                </c:pt>
                <c:pt idx="5">
                  <c:v>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ibution to CO2 reduction by 2030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ileage</c:v>
                </c:pt>
                <c:pt idx="1">
                  <c:v>Energy Production Efficiency</c:v>
                </c:pt>
                <c:pt idx="2">
                  <c:v>Lighting, Acs, Industrial Motors</c:v>
                </c:pt>
                <c:pt idx="3">
                  <c:v>Nuclear</c:v>
                </c:pt>
                <c:pt idx="4">
                  <c:v>Renewables and biofuels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35</c:v>
                </c:pt>
                <c:pt idx="1">
                  <c:v>0.13</c:v>
                </c:pt>
                <c:pt idx="2">
                  <c:v>0.3</c:v>
                </c:pt>
                <c:pt idx="3">
                  <c:v>0.1</c:v>
                </c:pt>
                <c:pt idx="4">
                  <c:v>0.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st (US$ cents/kWh)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6"/>
                <c:pt idx="0">
                  <c:v>Solar</c:v>
                </c:pt>
                <c:pt idx="1">
                  <c:v>Coal</c:v>
                </c:pt>
                <c:pt idx="2">
                  <c:v>Nuclear</c:v>
                </c:pt>
                <c:pt idx="3">
                  <c:v>Gas</c:v>
                </c:pt>
                <c:pt idx="4">
                  <c:v>Wind</c:v>
                </c:pt>
                <c:pt idx="5">
                  <c:v>Oil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2</c:v>
                </c:pt>
                <c:pt idx="1">
                  <c:v>4</c:v>
                </c:pt>
                <c:pt idx="2">
                  <c:v>6</c:v>
                </c:pt>
                <c:pt idx="3">
                  <c:v>7</c:v>
                </c:pt>
                <c:pt idx="4">
                  <c:v>6</c:v>
                </c:pt>
                <c:pt idx="5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964480"/>
        <c:axId val="40966016"/>
      </c:barChart>
      <c:catAx>
        <c:axId val="409644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0966016"/>
        <c:crosses val="autoZero"/>
        <c:auto val="1"/>
        <c:lblAlgn val="ctr"/>
        <c:lblOffset val="100"/>
        <c:noMultiLvlLbl val="0"/>
      </c:catAx>
      <c:valAx>
        <c:axId val="4096601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096448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Utilization</a:t>
            </a:r>
            <a:endParaRPr lang="en-US" dirty="0"/>
          </a:p>
        </c:rich>
      </c:tx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tilzation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Wind</c:v>
                </c:pt>
                <c:pt idx="1">
                  <c:v>Nuclear</c:v>
                </c:pt>
                <c:pt idx="2">
                  <c:v>Coal</c:v>
                </c:pt>
                <c:pt idx="3">
                  <c:v>CCGT - Nat Ga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5</c:v>
                </c:pt>
                <c:pt idx="1">
                  <c:v>0.92</c:v>
                </c:pt>
                <c:pt idx="2">
                  <c:v>0.72</c:v>
                </c:pt>
                <c:pt idx="3">
                  <c:v>0.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003648"/>
        <c:axId val="41005440"/>
      </c:barChart>
      <c:catAx>
        <c:axId val="410036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1005440"/>
        <c:crosses val="autoZero"/>
        <c:auto val="1"/>
        <c:lblAlgn val="ctr"/>
        <c:lblOffset val="100"/>
        <c:noMultiLvlLbl val="0"/>
      </c:catAx>
      <c:valAx>
        <c:axId val="4100544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4100364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st/kW 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Wind</c:v>
                </c:pt>
                <c:pt idx="1">
                  <c:v>Nuclear</c:v>
                </c:pt>
                <c:pt idx="2">
                  <c:v>Coal</c:v>
                </c:pt>
                <c:pt idx="3">
                  <c:v>CCGT- Nat Ga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900</c:v>
                </c:pt>
                <c:pt idx="1">
                  <c:v>3000</c:v>
                </c:pt>
                <c:pt idx="2">
                  <c:v>1950</c:v>
                </c:pt>
                <c:pt idx="3">
                  <c:v>95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tilization Adjusted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Wind</c:v>
                </c:pt>
                <c:pt idx="1">
                  <c:v>Nuclear</c:v>
                </c:pt>
                <c:pt idx="2">
                  <c:v>Coal</c:v>
                </c:pt>
                <c:pt idx="3">
                  <c:v>CCGT- Nat Gas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100</c:v>
                </c:pt>
                <c:pt idx="1">
                  <c:v>3200</c:v>
                </c:pt>
                <c:pt idx="2">
                  <c:v>2800</c:v>
                </c:pt>
                <c:pt idx="3">
                  <c:v>1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015552"/>
        <c:axId val="41037824"/>
      </c:barChart>
      <c:catAx>
        <c:axId val="41015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1037824"/>
        <c:crosses val="autoZero"/>
        <c:auto val="1"/>
        <c:lblAlgn val="ctr"/>
        <c:lblOffset val="100"/>
        <c:noMultiLvlLbl val="0"/>
      </c:catAx>
      <c:valAx>
        <c:axId val="410378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101555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image" Target="../media/image5.jpg"/><Relationship Id="rId4" Type="http://schemas.openxmlformats.org/officeDocument/2006/relationships/image" Target="../media/image8.jp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image" Target="../media/image5.jpg"/><Relationship Id="rId4" Type="http://schemas.openxmlformats.org/officeDocument/2006/relationships/image" Target="../media/image8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CA2638-C6ED-40AF-99D4-752AF5BCD8BF}" type="doc">
      <dgm:prSet loTypeId="urn:microsoft.com/office/officeart/2005/8/layout/hierarchy4" loCatId="relationship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4532B939-F026-4802-B408-0FCD20B36788}">
      <dgm:prSet phldrT="[Text]" custT="1"/>
      <dgm:spPr/>
      <dgm:t>
        <a:bodyPr/>
        <a:lstStyle/>
        <a:p>
          <a:r>
            <a:rPr lang="en-US" sz="1600" dirty="0" smtClean="0"/>
            <a:t>Energy Industry</a:t>
          </a:r>
          <a:endParaRPr lang="en-US" sz="1600" dirty="0"/>
        </a:p>
      </dgm:t>
    </dgm:pt>
    <dgm:pt modelId="{8E94BCE0-5D56-40A3-BFD7-B449ED5B85E6}" type="parTrans" cxnId="{360AE7FD-E326-497E-A26F-E3CD0F95644D}">
      <dgm:prSet/>
      <dgm:spPr/>
      <dgm:t>
        <a:bodyPr/>
        <a:lstStyle/>
        <a:p>
          <a:endParaRPr lang="en-US" sz="1400"/>
        </a:p>
      </dgm:t>
    </dgm:pt>
    <dgm:pt modelId="{612211E2-F295-4120-B971-85485ACE355A}" type="sibTrans" cxnId="{360AE7FD-E326-497E-A26F-E3CD0F95644D}">
      <dgm:prSet/>
      <dgm:spPr/>
      <dgm:t>
        <a:bodyPr/>
        <a:lstStyle/>
        <a:p>
          <a:endParaRPr lang="en-US" sz="1400"/>
        </a:p>
      </dgm:t>
    </dgm:pt>
    <dgm:pt modelId="{05B44E8E-1374-4FE1-AE24-61104ABBFAAC}">
      <dgm:prSet phldrT="[Text]" custT="1"/>
      <dgm:spPr/>
      <dgm:t>
        <a:bodyPr/>
        <a:lstStyle/>
        <a:p>
          <a:r>
            <a:rPr lang="en-US" sz="1400" dirty="0" smtClean="0"/>
            <a:t>Non-Renewable</a:t>
          </a:r>
          <a:endParaRPr lang="en-US" sz="1400" dirty="0"/>
        </a:p>
      </dgm:t>
    </dgm:pt>
    <dgm:pt modelId="{DD7919AF-6E8E-488E-AE4D-7D04109A3BC8}" type="parTrans" cxnId="{A1F12DDC-D921-40D6-98D0-AEFFF2BA85F7}">
      <dgm:prSet/>
      <dgm:spPr/>
      <dgm:t>
        <a:bodyPr/>
        <a:lstStyle/>
        <a:p>
          <a:endParaRPr lang="en-US" sz="1400"/>
        </a:p>
      </dgm:t>
    </dgm:pt>
    <dgm:pt modelId="{B1E47360-344E-46A2-84E7-10FF1A430A2B}" type="sibTrans" cxnId="{A1F12DDC-D921-40D6-98D0-AEFFF2BA85F7}">
      <dgm:prSet/>
      <dgm:spPr/>
      <dgm:t>
        <a:bodyPr/>
        <a:lstStyle/>
        <a:p>
          <a:endParaRPr lang="en-US" sz="1400"/>
        </a:p>
      </dgm:t>
    </dgm:pt>
    <dgm:pt modelId="{D66B9192-6B1B-419E-8A4B-6046ECAE67AB}">
      <dgm:prSet phldrT="[Text]" custT="1"/>
      <dgm:spPr/>
      <dgm:t>
        <a:bodyPr/>
        <a:lstStyle/>
        <a:p>
          <a:r>
            <a:rPr lang="en-US" sz="1400" dirty="0" smtClean="0"/>
            <a:t>Coal</a:t>
          </a:r>
          <a:endParaRPr lang="en-US" sz="1400" dirty="0"/>
        </a:p>
      </dgm:t>
    </dgm:pt>
    <dgm:pt modelId="{C2AB1834-EF2C-4B9D-AFD6-CB44221ACCA7}" type="parTrans" cxnId="{2E7C54B8-83F7-4357-A110-D994B0F28209}">
      <dgm:prSet/>
      <dgm:spPr/>
      <dgm:t>
        <a:bodyPr/>
        <a:lstStyle/>
        <a:p>
          <a:endParaRPr lang="en-US" sz="1400"/>
        </a:p>
      </dgm:t>
    </dgm:pt>
    <dgm:pt modelId="{F5ED2BC1-F183-4203-A44C-6B192A81277C}" type="sibTrans" cxnId="{2E7C54B8-83F7-4357-A110-D994B0F28209}">
      <dgm:prSet/>
      <dgm:spPr/>
      <dgm:t>
        <a:bodyPr/>
        <a:lstStyle/>
        <a:p>
          <a:endParaRPr lang="en-US" sz="1400"/>
        </a:p>
      </dgm:t>
    </dgm:pt>
    <dgm:pt modelId="{4C30091C-5C16-494D-AAC9-82E41B4D1DBD}">
      <dgm:prSet phldrT="[Text]" custT="1"/>
      <dgm:spPr/>
      <dgm:t>
        <a:bodyPr/>
        <a:lstStyle/>
        <a:p>
          <a:r>
            <a:rPr lang="en-US" sz="1400" dirty="0" smtClean="0"/>
            <a:t>Oil &amp; Gas</a:t>
          </a:r>
          <a:endParaRPr lang="en-US" sz="1400" dirty="0"/>
        </a:p>
      </dgm:t>
    </dgm:pt>
    <dgm:pt modelId="{40D83F80-21F1-48CA-B411-FCABCECA3301}" type="parTrans" cxnId="{DB5013AC-A48E-43D2-8F35-BAD31C3DA918}">
      <dgm:prSet/>
      <dgm:spPr/>
      <dgm:t>
        <a:bodyPr/>
        <a:lstStyle/>
        <a:p>
          <a:endParaRPr lang="en-US" sz="1400"/>
        </a:p>
      </dgm:t>
    </dgm:pt>
    <dgm:pt modelId="{3A19F9EA-B2F2-4C27-8D89-31C5D13B3ADD}" type="sibTrans" cxnId="{DB5013AC-A48E-43D2-8F35-BAD31C3DA918}">
      <dgm:prSet/>
      <dgm:spPr/>
      <dgm:t>
        <a:bodyPr/>
        <a:lstStyle/>
        <a:p>
          <a:endParaRPr lang="en-US" sz="1400"/>
        </a:p>
      </dgm:t>
    </dgm:pt>
    <dgm:pt modelId="{64FBD436-7B50-4130-B5BC-F11156B5FCEC}">
      <dgm:prSet phldrT="[Text]" custT="1"/>
      <dgm:spPr/>
      <dgm:t>
        <a:bodyPr/>
        <a:lstStyle/>
        <a:p>
          <a:r>
            <a:rPr lang="en-US" sz="1400" dirty="0" smtClean="0"/>
            <a:t>Renewable Energy</a:t>
          </a:r>
          <a:endParaRPr lang="en-US" sz="1400" dirty="0"/>
        </a:p>
      </dgm:t>
    </dgm:pt>
    <dgm:pt modelId="{7B770C48-12C2-477F-B7EA-29CE79FDD0DA}" type="parTrans" cxnId="{36F6BCD6-6518-427C-8E3F-7EF9F0D7EF01}">
      <dgm:prSet/>
      <dgm:spPr/>
      <dgm:t>
        <a:bodyPr/>
        <a:lstStyle/>
        <a:p>
          <a:endParaRPr lang="en-US" sz="1400"/>
        </a:p>
      </dgm:t>
    </dgm:pt>
    <dgm:pt modelId="{D054E5CE-739B-4E43-89E2-26DE62652D36}" type="sibTrans" cxnId="{36F6BCD6-6518-427C-8E3F-7EF9F0D7EF01}">
      <dgm:prSet/>
      <dgm:spPr/>
      <dgm:t>
        <a:bodyPr/>
        <a:lstStyle/>
        <a:p>
          <a:endParaRPr lang="en-US" sz="1400"/>
        </a:p>
      </dgm:t>
    </dgm:pt>
    <dgm:pt modelId="{0BB8C5E9-258C-4558-A95C-9EDE5C81CBD1}">
      <dgm:prSet phldrT="[Text]" custT="1"/>
      <dgm:spPr/>
      <dgm:t>
        <a:bodyPr/>
        <a:lstStyle/>
        <a:p>
          <a:r>
            <a:rPr lang="en-US" sz="1400" dirty="0" smtClean="0"/>
            <a:t>Solar</a:t>
          </a:r>
          <a:endParaRPr lang="en-US" sz="1400" dirty="0"/>
        </a:p>
      </dgm:t>
    </dgm:pt>
    <dgm:pt modelId="{67AFB2C0-8154-4BDB-AEC4-6F6BFCBF71FC}" type="parTrans" cxnId="{2C031CBC-3CB3-45E7-89DD-E5C87946238C}">
      <dgm:prSet/>
      <dgm:spPr/>
      <dgm:t>
        <a:bodyPr/>
        <a:lstStyle/>
        <a:p>
          <a:endParaRPr lang="en-US" sz="1400"/>
        </a:p>
      </dgm:t>
    </dgm:pt>
    <dgm:pt modelId="{EE0AD2BD-FA9A-4889-BAA9-685E91480330}" type="sibTrans" cxnId="{2C031CBC-3CB3-45E7-89DD-E5C87946238C}">
      <dgm:prSet/>
      <dgm:spPr/>
      <dgm:t>
        <a:bodyPr/>
        <a:lstStyle/>
        <a:p>
          <a:endParaRPr lang="en-US" sz="1400"/>
        </a:p>
      </dgm:t>
    </dgm:pt>
    <dgm:pt modelId="{B23D3A30-8374-41F7-BFEC-DA63FEA1F712}">
      <dgm:prSet phldrT="[Text]" custT="1"/>
      <dgm:spPr/>
      <dgm:t>
        <a:bodyPr/>
        <a:lstStyle/>
        <a:p>
          <a:r>
            <a:rPr lang="en-US" sz="1400" dirty="0" smtClean="0"/>
            <a:t>Bio-fuels</a:t>
          </a:r>
          <a:endParaRPr lang="en-US" sz="1400" dirty="0"/>
        </a:p>
      </dgm:t>
    </dgm:pt>
    <dgm:pt modelId="{DD6C0D01-9F90-443F-B6A6-DA0DF77FAC3E}" type="parTrans" cxnId="{C3733EBD-D6FD-4A64-B09F-011C11E10307}">
      <dgm:prSet/>
      <dgm:spPr/>
      <dgm:t>
        <a:bodyPr/>
        <a:lstStyle/>
        <a:p>
          <a:endParaRPr lang="en-US" sz="1400"/>
        </a:p>
      </dgm:t>
    </dgm:pt>
    <dgm:pt modelId="{58044A65-C771-4545-A6C1-4567C38E4D80}" type="sibTrans" cxnId="{C3733EBD-D6FD-4A64-B09F-011C11E10307}">
      <dgm:prSet/>
      <dgm:spPr/>
      <dgm:t>
        <a:bodyPr/>
        <a:lstStyle/>
        <a:p>
          <a:endParaRPr lang="en-US" sz="1400"/>
        </a:p>
      </dgm:t>
    </dgm:pt>
    <dgm:pt modelId="{393854C0-B964-494A-901D-8173524F40B8}">
      <dgm:prSet phldrT="[Text]" custT="1"/>
      <dgm:spPr/>
      <dgm:t>
        <a:bodyPr/>
        <a:lstStyle/>
        <a:p>
          <a:r>
            <a:rPr lang="en-US" sz="1400" dirty="0" smtClean="0"/>
            <a:t>Wind</a:t>
          </a:r>
          <a:endParaRPr lang="en-US" sz="1400" dirty="0"/>
        </a:p>
      </dgm:t>
    </dgm:pt>
    <dgm:pt modelId="{249A32D6-6225-446B-8643-45CF4A6333ED}" type="parTrans" cxnId="{D021B078-8C4D-40FD-B8F2-0B18E649D993}">
      <dgm:prSet/>
      <dgm:spPr/>
      <dgm:t>
        <a:bodyPr/>
        <a:lstStyle/>
        <a:p>
          <a:endParaRPr lang="en-US" sz="1400"/>
        </a:p>
      </dgm:t>
    </dgm:pt>
    <dgm:pt modelId="{40D6778D-8BF2-46F4-89B0-6641F8B87E69}" type="sibTrans" cxnId="{D021B078-8C4D-40FD-B8F2-0B18E649D993}">
      <dgm:prSet/>
      <dgm:spPr/>
      <dgm:t>
        <a:bodyPr/>
        <a:lstStyle/>
        <a:p>
          <a:endParaRPr lang="en-US" sz="1400"/>
        </a:p>
      </dgm:t>
    </dgm:pt>
    <dgm:pt modelId="{D0710536-0E69-424A-8C25-112E0C5989BF}">
      <dgm:prSet phldrT="[Text]" custT="1"/>
      <dgm:spPr/>
      <dgm:t>
        <a:bodyPr/>
        <a:lstStyle/>
        <a:p>
          <a:r>
            <a:rPr lang="en-US" sz="1400" dirty="0" smtClean="0"/>
            <a:t>Hydro </a:t>
          </a:r>
          <a:endParaRPr lang="en-US" sz="1400" dirty="0"/>
        </a:p>
      </dgm:t>
    </dgm:pt>
    <dgm:pt modelId="{280D865D-C970-472C-83EC-A1F1106A6289}" type="parTrans" cxnId="{52DCC177-4332-4F05-B2DC-66F8EC0F084D}">
      <dgm:prSet/>
      <dgm:spPr/>
      <dgm:t>
        <a:bodyPr/>
        <a:lstStyle/>
        <a:p>
          <a:endParaRPr lang="en-US" sz="1400"/>
        </a:p>
      </dgm:t>
    </dgm:pt>
    <dgm:pt modelId="{27DF131C-E0C8-4DE6-86C6-C2B2A991DC52}" type="sibTrans" cxnId="{52DCC177-4332-4F05-B2DC-66F8EC0F084D}">
      <dgm:prSet/>
      <dgm:spPr/>
      <dgm:t>
        <a:bodyPr/>
        <a:lstStyle/>
        <a:p>
          <a:endParaRPr lang="en-US" sz="1400"/>
        </a:p>
      </dgm:t>
    </dgm:pt>
    <dgm:pt modelId="{50111852-CDEE-4E39-8E7A-46967351EE33}">
      <dgm:prSet phldrT="[Text]" custT="1"/>
      <dgm:spPr/>
      <dgm:t>
        <a:bodyPr/>
        <a:lstStyle/>
        <a:p>
          <a:r>
            <a:rPr lang="en-US" sz="1400" dirty="0" smtClean="0"/>
            <a:t>Associated Equipment/ Technology Suppliers</a:t>
          </a:r>
          <a:endParaRPr lang="en-US" sz="1400" dirty="0"/>
        </a:p>
      </dgm:t>
    </dgm:pt>
    <dgm:pt modelId="{5B675088-A8C7-4AD2-91D0-A1510BBE580D}" type="parTrans" cxnId="{E3FE8A0E-0DC5-46E1-A778-0642B2A59E44}">
      <dgm:prSet/>
      <dgm:spPr/>
      <dgm:t>
        <a:bodyPr/>
        <a:lstStyle/>
        <a:p>
          <a:endParaRPr lang="en-US" sz="1400"/>
        </a:p>
      </dgm:t>
    </dgm:pt>
    <dgm:pt modelId="{14D39F7C-3761-4D15-9DAA-257DABF9BC66}" type="sibTrans" cxnId="{E3FE8A0E-0DC5-46E1-A778-0642B2A59E44}">
      <dgm:prSet/>
      <dgm:spPr/>
      <dgm:t>
        <a:bodyPr/>
        <a:lstStyle/>
        <a:p>
          <a:endParaRPr lang="en-US" sz="1400"/>
        </a:p>
      </dgm:t>
    </dgm:pt>
    <dgm:pt modelId="{3E99B07F-E325-4CF2-A76C-29DF2184F359}">
      <dgm:prSet phldrT="[Text]" custT="1"/>
      <dgm:spPr/>
      <dgm:t>
        <a:bodyPr/>
        <a:lstStyle/>
        <a:p>
          <a:r>
            <a:rPr lang="en-US" sz="1400" dirty="0" smtClean="0"/>
            <a:t>Utilities/</a:t>
          </a:r>
        </a:p>
        <a:p>
          <a:r>
            <a:rPr lang="en-US" sz="1400" dirty="0" smtClean="0"/>
            <a:t>Consumers</a:t>
          </a:r>
          <a:endParaRPr lang="en-US" sz="1400" dirty="0"/>
        </a:p>
      </dgm:t>
    </dgm:pt>
    <dgm:pt modelId="{89DF91A1-6B2C-4D26-94AC-E986271B8E0A}" type="parTrans" cxnId="{1D609304-A2B7-462E-BBF5-4EE31AABCB2B}">
      <dgm:prSet/>
      <dgm:spPr/>
      <dgm:t>
        <a:bodyPr/>
        <a:lstStyle/>
        <a:p>
          <a:endParaRPr lang="en-US" sz="1400"/>
        </a:p>
      </dgm:t>
    </dgm:pt>
    <dgm:pt modelId="{F509746C-D3CF-42C9-96F5-B06FD2B70D06}" type="sibTrans" cxnId="{1D609304-A2B7-462E-BBF5-4EE31AABCB2B}">
      <dgm:prSet/>
      <dgm:spPr/>
      <dgm:t>
        <a:bodyPr/>
        <a:lstStyle/>
        <a:p>
          <a:endParaRPr lang="en-US" sz="1400"/>
        </a:p>
      </dgm:t>
    </dgm:pt>
    <dgm:pt modelId="{70D65423-1630-41F7-8672-6C95312FA22E}">
      <dgm:prSet phldrT="[Text]" custT="1"/>
      <dgm:spPr/>
      <dgm:t>
        <a:bodyPr/>
        <a:lstStyle/>
        <a:p>
          <a:r>
            <a:rPr lang="en-US" sz="1400" dirty="0" smtClean="0"/>
            <a:t>Others (Fuel Cells, Geothermal etc.)</a:t>
          </a:r>
          <a:endParaRPr lang="en-US" sz="1400" dirty="0"/>
        </a:p>
      </dgm:t>
    </dgm:pt>
    <dgm:pt modelId="{8343E03B-7A71-41CD-82FA-2332C5A9F4A8}" type="sibTrans" cxnId="{5E6C5D69-1458-4904-BE7A-57F4490DFFF1}">
      <dgm:prSet/>
      <dgm:spPr/>
      <dgm:t>
        <a:bodyPr/>
        <a:lstStyle/>
        <a:p>
          <a:endParaRPr lang="en-US"/>
        </a:p>
      </dgm:t>
    </dgm:pt>
    <dgm:pt modelId="{0F8AA4CA-8544-48B5-80A4-589744FCAE6B}" type="parTrans" cxnId="{5E6C5D69-1458-4904-BE7A-57F4490DFFF1}">
      <dgm:prSet/>
      <dgm:spPr/>
      <dgm:t>
        <a:bodyPr/>
        <a:lstStyle/>
        <a:p>
          <a:endParaRPr lang="en-US"/>
        </a:p>
      </dgm:t>
    </dgm:pt>
    <dgm:pt modelId="{72F029A4-34A3-47B6-96E5-CB7D6BF555BD}" type="pres">
      <dgm:prSet presAssocID="{95CA2638-C6ED-40AF-99D4-752AF5BCD8BF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F2DEC10-356B-4864-B66E-1FF235D9975C}" type="pres">
      <dgm:prSet presAssocID="{50111852-CDEE-4E39-8E7A-46967351EE33}" presName="vertOne" presStyleCnt="0"/>
      <dgm:spPr/>
      <dgm:t>
        <a:bodyPr/>
        <a:lstStyle/>
        <a:p>
          <a:endParaRPr lang="en-US"/>
        </a:p>
      </dgm:t>
    </dgm:pt>
    <dgm:pt modelId="{351CD996-F289-4785-8B80-D15AFF9E9E6B}" type="pres">
      <dgm:prSet presAssocID="{50111852-CDEE-4E39-8E7A-46967351EE33}" presName="txOne" presStyleLbl="node0" presStyleIdx="0" presStyleCnt="3" custScaleX="122058" custScaleY="33477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CE28DA3-EA41-4236-8477-297090693D54}" type="pres">
      <dgm:prSet presAssocID="{50111852-CDEE-4E39-8E7A-46967351EE33}" presName="horzOne" presStyleCnt="0"/>
      <dgm:spPr/>
      <dgm:t>
        <a:bodyPr/>
        <a:lstStyle/>
        <a:p>
          <a:endParaRPr lang="en-US"/>
        </a:p>
      </dgm:t>
    </dgm:pt>
    <dgm:pt modelId="{4E59905B-35C9-4DF8-B145-1EA7C5750A16}" type="pres">
      <dgm:prSet presAssocID="{14D39F7C-3761-4D15-9DAA-257DABF9BC66}" presName="sibSpaceOne" presStyleCnt="0"/>
      <dgm:spPr/>
      <dgm:t>
        <a:bodyPr/>
        <a:lstStyle/>
        <a:p>
          <a:endParaRPr lang="en-US"/>
        </a:p>
      </dgm:t>
    </dgm:pt>
    <dgm:pt modelId="{876DEEBA-3E72-485F-A62E-CE8736752E48}" type="pres">
      <dgm:prSet presAssocID="{4532B939-F026-4802-B408-0FCD20B36788}" presName="vertOne" presStyleCnt="0"/>
      <dgm:spPr/>
      <dgm:t>
        <a:bodyPr/>
        <a:lstStyle/>
        <a:p>
          <a:endParaRPr lang="en-US"/>
        </a:p>
      </dgm:t>
    </dgm:pt>
    <dgm:pt modelId="{FBF15371-A706-49D7-A93F-170D47293347}" type="pres">
      <dgm:prSet presAssocID="{4532B939-F026-4802-B408-0FCD20B36788}" presName="txOne" presStyleLbl="node0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BF065A1-7536-4FF7-B176-D077AF23C362}" type="pres">
      <dgm:prSet presAssocID="{4532B939-F026-4802-B408-0FCD20B36788}" presName="parTransOne" presStyleCnt="0"/>
      <dgm:spPr/>
      <dgm:t>
        <a:bodyPr/>
        <a:lstStyle/>
        <a:p>
          <a:endParaRPr lang="en-US"/>
        </a:p>
      </dgm:t>
    </dgm:pt>
    <dgm:pt modelId="{C3939C8B-B172-41A6-AE6E-3D44AA939B4F}" type="pres">
      <dgm:prSet presAssocID="{4532B939-F026-4802-B408-0FCD20B36788}" presName="horzOne" presStyleCnt="0"/>
      <dgm:spPr/>
      <dgm:t>
        <a:bodyPr/>
        <a:lstStyle/>
        <a:p>
          <a:endParaRPr lang="en-US"/>
        </a:p>
      </dgm:t>
    </dgm:pt>
    <dgm:pt modelId="{C3F0F23F-AB18-4BDC-A37D-68DA1BAD9933}" type="pres">
      <dgm:prSet presAssocID="{05B44E8E-1374-4FE1-AE24-61104ABBFAAC}" presName="vertTwo" presStyleCnt="0"/>
      <dgm:spPr/>
      <dgm:t>
        <a:bodyPr/>
        <a:lstStyle/>
        <a:p>
          <a:endParaRPr lang="en-US"/>
        </a:p>
      </dgm:t>
    </dgm:pt>
    <dgm:pt modelId="{FA91B1EE-AED5-47B5-B637-4F5C9ECE33FE}" type="pres">
      <dgm:prSet presAssocID="{05B44E8E-1374-4FE1-AE24-61104ABBFAAC}" presName="txTwo" presStyleLbl="node2" presStyleIdx="0" presStyleCnt="2" custLinFactNeighborY="-483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37A4D5C-415D-4B07-9E74-021BC96E8A92}" type="pres">
      <dgm:prSet presAssocID="{05B44E8E-1374-4FE1-AE24-61104ABBFAAC}" presName="parTransTwo" presStyleCnt="0"/>
      <dgm:spPr/>
      <dgm:t>
        <a:bodyPr/>
        <a:lstStyle/>
        <a:p>
          <a:endParaRPr lang="en-US"/>
        </a:p>
      </dgm:t>
    </dgm:pt>
    <dgm:pt modelId="{048194F1-34FF-4B37-8F5D-2E75A4E3FEBD}" type="pres">
      <dgm:prSet presAssocID="{05B44E8E-1374-4FE1-AE24-61104ABBFAAC}" presName="horzTwo" presStyleCnt="0"/>
      <dgm:spPr/>
      <dgm:t>
        <a:bodyPr/>
        <a:lstStyle/>
        <a:p>
          <a:endParaRPr lang="en-US"/>
        </a:p>
      </dgm:t>
    </dgm:pt>
    <dgm:pt modelId="{914609B5-C8E5-4E53-939A-A1025778B0EE}" type="pres">
      <dgm:prSet presAssocID="{D66B9192-6B1B-419E-8A4B-6046ECAE67AB}" presName="vertThree" presStyleCnt="0"/>
      <dgm:spPr/>
      <dgm:t>
        <a:bodyPr/>
        <a:lstStyle/>
        <a:p>
          <a:endParaRPr lang="en-US"/>
        </a:p>
      </dgm:t>
    </dgm:pt>
    <dgm:pt modelId="{E402C7E3-4043-4EED-B7E6-64A81C71202D}" type="pres">
      <dgm:prSet presAssocID="{D66B9192-6B1B-419E-8A4B-6046ECAE67AB}" presName="txThree" presStyleLbl="node3" presStyleIdx="0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439A01A-E88A-466C-85D4-87D3FE4420AB}" type="pres">
      <dgm:prSet presAssocID="{D66B9192-6B1B-419E-8A4B-6046ECAE67AB}" presName="horzThree" presStyleCnt="0"/>
      <dgm:spPr/>
      <dgm:t>
        <a:bodyPr/>
        <a:lstStyle/>
        <a:p>
          <a:endParaRPr lang="en-US"/>
        </a:p>
      </dgm:t>
    </dgm:pt>
    <dgm:pt modelId="{36951408-819B-4F2F-80C8-BADD174BD56D}" type="pres">
      <dgm:prSet presAssocID="{F5ED2BC1-F183-4203-A44C-6B192A81277C}" presName="sibSpaceThree" presStyleCnt="0"/>
      <dgm:spPr/>
      <dgm:t>
        <a:bodyPr/>
        <a:lstStyle/>
        <a:p>
          <a:endParaRPr lang="en-US"/>
        </a:p>
      </dgm:t>
    </dgm:pt>
    <dgm:pt modelId="{9B0BA8B1-DB14-42DB-9370-3A7A6123FD89}" type="pres">
      <dgm:prSet presAssocID="{4C30091C-5C16-494D-AAC9-82E41B4D1DBD}" presName="vertThree" presStyleCnt="0"/>
      <dgm:spPr/>
      <dgm:t>
        <a:bodyPr/>
        <a:lstStyle/>
        <a:p>
          <a:endParaRPr lang="en-US"/>
        </a:p>
      </dgm:t>
    </dgm:pt>
    <dgm:pt modelId="{25AD7C27-BD39-468E-BC24-1DDCBB7908A6}" type="pres">
      <dgm:prSet presAssocID="{4C30091C-5C16-494D-AAC9-82E41B4D1DBD}" presName="txThree" presStyleLbl="node3" presStyleIdx="1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09D35F0-9BD1-47B1-8F2A-64580A6D14DA}" type="pres">
      <dgm:prSet presAssocID="{4C30091C-5C16-494D-AAC9-82E41B4D1DBD}" presName="horzThree" presStyleCnt="0"/>
      <dgm:spPr/>
      <dgm:t>
        <a:bodyPr/>
        <a:lstStyle/>
        <a:p>
          <a:endParaRPr lang="en-US"/>
        </a:p>
      </dgm:t>
    </dgm:pt>
    <dgm:pt modelId="{BEF83D03-1B97-4F7C-A3CE-91A186DAE2E9}" type="pres">
      <dgm:prSet presAssocID="{B1E47360-344E-46A2-84E7-10FF1A430A2B}" presName="sibSpaceTwo" presStyleCnt="0"/>
      <dgm:spPr/>
      <dgm:t>
        <a:bodyPr/>
        <a:lstStyle/>
        <a:p>
          <a:endParaRPr lang="en-US"/>
        </a:p>
      </dgm:t>
    </dgm:pt>
    <dgm:pt modelId="{36287442-9F19-4697-A5DF-808FDFA2F679}" type="pres">
      <dgm:prSet presAssocID="{64FBD436-7B50-4130-B5BC-F11156B5FCEC}" presName="vertTwo" presStyleCnt="0"/>
      <dgm:spPr/>
      <dgm:t>
        <a:bodyPr/>
        <a:lstStyle/>
        <a:p>
          <a:endParaRPr lang="en-US"/>
        </a:p>
      </dgm:t>
    </dgm:pt>
    <dgm:pt modelId="{E95CCC36-2A4D-470F-9751-82BAFFF7CA84}" type="pres">
      <dgm:prSet presAssocID="{64FBD436-7B50-4130-B5BC-F11156B5FCEC}" presName="txTwo" presStyleLbl="node2" presStyleIdx="1" presStyleCnt="2" custLinFactNeighborY="-483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FCC4E6-E83B-4AE5-90BC-4E4E61CD251A}" type="pres">
      <dgm:prSet presAssocID="{64FBD436-7B50-4130-B5BC-F11156B5FCEC}" presName="parTransTwo" presStyleCnt="0"/>
      <dgm:spPr/>
      <dgm:t>
        <a:bodyPr/>
        <a:lstStyle/>
        <a:p>
          <a:endParaRPr lang="en-US"/>
        </a:p>
      </dgm:t>
    </dgm:pt>
    <dgm:pt modelId="{B8D45825-371C-421F-877F-49173B090BC6}" type="pres">
      <dgm:prSet presAssocID="{64FBD436-7B50-4130-B5BC-F11156B5FCEC}" presName="horzTwo" presStyleCnt="0"/>
      <dgm:spPr/>
      <dgm:t>
        <a:bodyPr/>
        <a:lstStyle/>
        <a:p>
          <a:endParaRPr lang="en-US"/>
        </a:p>
      </dgm:t>
    </dgm:pt>
    <dgm:pt modelId="{161E3498-3866-4822-878A-AD9263E76524}" type="pres">
      <dgm:prSet presAssocID="{0BB8C5E9-258C-4558-A95C-9EDE5C81CBD1}" presName="vertThree" presStyleCnt="0"/>
      <dgm:spPr/>
      <dgm:t>
        <a:bodyPr/>
        <a:lstStyle/>
        <a:p>
          <a:endParaRPr lang="en-US"/>
        </a:p>
      </dgm:t>
    </dgm:pt>
    <dgm:pt modelId="{6D1F7077-EA47-4496-96B7-1743B5C57582}" type="pres">
      <dgm:prSet presAssocID="{0BB8C5E9-258C-4558-A95C-9EDE5C81CBD1}" presName="txThree" presStyleLbl="node3" presStyleIdx="2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CD1EADE-9D57-4C5C-9F52-113149CCEB72}" type="pres">
      <dgm:prSet presAssocID="{0BB8C5E9-258C-4558-A95C-9EDE5C81CBD1}" presName="horzThree" presStyleCnt="0"/>
      <dgm:spPr/>
      <dgm:t>
        <a:bodyPr/>
        <a:lstStyle/>
        <a:p>
          <a:endParaRPr lang="en-US"/>
        </a:p>
      </dgm:t>
    </dgm:pt>
    <dgm:pt modelId="{5B2C88ED-FDF9-405E-AFA2-F105C78ED4E5}" type="pres">
      <dgm:prSet presAssocID="{EE0AD2BD-FA9A-4889-BAA9-685E91480330}" presName="sibSpaceThree" presStyleCnt="0"/>
      <dgm:spPr/>
      <dgm:t>
        <a:bodyPr/>
        <a:lstStyle/>
        <a:p>
          <a:endParaRPr lang="en-US"/>
        </a:p>
      </dgm:t>
    </dgm:pt>
    <dgm:pt modelId="{FD414F2C-3764-41F3-A799-76543D918818}" type="pres">
      <dgm:prSet presAssocID="{393854C0-B964-494A-901D-8173524F40B8}" presName="vertThree" presStyleCnt="0"/>
      <dgm:spPr/>
      <dgm:t>
        <a:bodyPr/>
        <a:lstStyle/>
        <a:p>
          <a:endParaRPr lang="en-US"/>
        </a:p>
      </dgm:t>
    </dgm:pt>
    <dgm:pt modelId="{1358CD96-D9FB-4ED9-8DEC-EA1D8CF1DEEA}" type="pres">
      <dgm:prSet presAssocID="{393854C0-B964-494A-901D-8173524F40B8}" presName="txThree" presStyleLbl="node3" presStyleIdx="3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3DE8B9F-D05A-4C30-B35F-27FD4C9F0FB1}" type="pres">
      <dgm:prSet presAssocID="{393854C0-B964-494A-901D-8173524F40B8}" presName="horzThree" presStyleCnt="0"/>
      <dgm:spPr/>
      <dgm:t>
        <a:bodyPr/>
        <a:lstStyle/>
        <a:p>
          <a:endParaRPr lang="en-US"/>
        </a:p>
      </dgm:t>
    </dgm:pt>
    <dgm:pt modelId="{039F11D9-1B9D-4F26-AE9E-4C4A50BCB11A}" type="pres">
      <dgm:prSet presAssocID="{40D6778D-8BF2-46F4-89B0-6641F8B87E69}" presName="sibSpaceThree" presStyleCnt="0"/>
      <dgm:spPr/>
      <dgm:t>
        <a:bodyPr/>
        <a:lstStyle/>
        <a:p>
          <a:endParaRPr lang="en-US"/>
        </a:p>
      </dgm:t>
    </dgm:pt>
    <dgm:pt modelId="{E76302AE-2E21-4EFD-A20A-FFF25DE4C7F8}" type="pres">
      <dgm:prSet presAssocID="{B23D3A30-8374-41F7-BFEC-DA63FEA1F712}" presName="vertThree" presStyleCnt="0"/>
      <dgm:spPr/>
      <dgm:t>
        <a:bodyPr/>
        <a:lstStyle/>
        <a:p>
          <a:endParaRPr lang="en-US"/>
        </a:p>
      </dgm:t>
    </dgm:pt>
    <dgm:pt modelId="{07DE010B-4DA5-44E7-81B4-7FBB4E7A75D4}" type="pres">
      <dgm:prSet presAssocID="{B23D3A30-8374-41F7-BFEC-DA63FEA1F712}" presName="txThree" presStyleLbl="node3" presStyleIdx="4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5A027CD-B9F1-4E1E-A9D5-02A240B8735F}" type="pres">
      <dgm:prSet presAssocID="{B23D3A30-8374-41F7-BFEC-DA63FEA1F712}" presName="horzThree" presStyleCnt="0"/>
      <dgm:spPr/>
      <dgm:t>
        <a:bodyPr/>
        <a:lstStyle/>
        <a:p>
          <a:endParaRPr lang="en-US"/>
        </a:p>
      </dgm:t>
    </dgm:pt>
    <dgm:pt modelId="{FE90CC21-DDEF-466D-AC87-169501092926}" type="pres">
      <dgm:prSet presAssocID="{58044A65-C771-4545-A6C1-4567C38E4D80}" presName="sibSpaceThree" presStyleCnt="0"/>
      <dgm:spPr/>
      <dgm:t>
        <a:bodyPr/>
        <a:lstStyle/>
        <a:p>
          <a:endParaRPr lang="en-US"/>
        </a:p>
      </dgm:t>
    </dgm:pt>
    <dgm:pt modelId="{59085787-4434-45DF-AEF0-9BDAF8E7C0F4}" type="pres">
      <dgm:prSet presAssocID="{D0710536-0E69-424A-8C25-112E0C5989BF}" presName="vertThree" presStyleCnt="0"/>
      <dgm:spPr/>
      <dgm:t>
        <a:bodyPr/>
        <a:lstStyle/>
        <a:p>
          <a:endParaRPr lang="en-US"/>
        </a:p>
      </dgm:t>
    </dgm:pt>
    <dgm:pt modelId="{31967CD4-B9F8-4269-8BDB-83F7F187CC65}" type="pres">
      <dgm:prSet presAssocID="{D0710536-0E69-424A-8C25-112E0C5989BF}" presName="txThree" presStyleLbl="node3" presStyleIdx="5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B97257-1184-452E-9D46-2F24FAF17EAA}" type="pres">
      <dgm:prSet presAssocID="{D0710536-0E69-424A-8C25-112E0C5989BF}" presName="horzThree" presStyleCnt="0"/>
      <dgm:spPr/>
      <dgm:t>
        <a:bodyPr/>
        <a:lstStyle/>
        <a:p>
          <a:endParaRPr lang="en-US"/>
        </a:p>
      </dgm:t>
    </dgm:pt>
    <dgm:pt modelId="{679BE813-5A0A-438F-80C2-0434147F3E64}" type="pres">
      <dgm:prSet presAssocID="{27DF131C-E0C8-4DE6-86C6-C2B2A991DC52}" presName="sibSpaceThree" presStyleCnt="0"/>
      <dgm:spPr/>
    </dgm:pt>
    <dgm:pt modelId="{CFEF09AA-D045-4B72-AD45-152EBE5D6739}" type="pres">
      <dgm:prSet presAssocID="{70D65423-1630-41F7-8672-6C95312FA22E}" presName="vertThree" presStyleCnt="0"/>
      <dgm:spPr/>
    </dgm:pt>
    <dgm:pt modelId="{2E5D4B5E-44E3-4AD4-954C-099547AF5851}" type="pres">
      <dgm:prSet presAssocID="{70D65423-1630-41F7-8672-6C95312FA22E}" presName="txThree" presStyleLbl="node3" presStyleIdx="6" presStyleCnt="7" custLinFactNeighborY="-33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BCDF4EC-AB6F-43C8-9D12-C0AF4D90BE25}" type="pres">
      <dgm:prSet presAssocID="{70D65423-1630-41F7-8672-6C95312FA22E}" presName="horzThree" presStyleCnt="0"/>
      <dgm:spPr/>
    </dgm:pt>
    <dgm:pt modelId="{01221942-6CD4-49A4-8C04-648F19512682}" type="pres">
      <dgm:prSet presAssocID="{612211E2-F295-4120-B971-85485ACE355A}" presName="sibSpaceOne" presStyleCnt="0"/>
      <dgm:spPr/>
      <dgm:t>
        <a:bodyPr/>
        <a:lstStyle/>
        <a:p>
          <a:endParaRPr lang="en-US"/>
        </a:p>
      </dgm:t>
    </dgm:pt>
    <dgm:pt modelId="{9B0FA6B9-2271-47D6-8860-8104ED7AE800}" type="pres">
      <dgm:prSet presAssocID="{3E99B07F-E325-4CF2-A76C-29DF2184F359}" presName="vertOne" presStyleCnt="0"/>
      <dgm:spPr/>
      <dgm:t>
        <a:bodyPr/>
        <a:lstStyle/>
        <a:p>
          <a:endParaRPr lang="en-US"/>
        </a:p>
      </dgm:t>
    </dgm:pt>
    <dgm:pt modelId="{43CD1E0D-A594-421F-AA49-5DC2DFADA380}" type="pres">
      <dgm:prSet presAssocID="{3E99B07F-E325-4CF2-A76C-29DF2184F359}" presName="txOne" presStyleLbl="node0" presStyleIdx="2" presStyleCnt="3" custScaleX="122197" custScaleY="33622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88E0E27-3C68-4A3A-901B-CE19CA3AD46B}" type="pres">
      <dgm:prSet presAssocID="{3E99B07F-E325-4CF2-A76C-29DF2184F359}" presName="horzOne" presStyleCnt="0"/>
      <dgm:spPr/>
      <dgm:t>
        <a:bodyPr/>
        <a:lstStyle/>
        <a:p>
          <a:endParaRPr lang="en-US"/>
        </a:p>
      </dgm:t>
    </dgm:pt>
  </dgm:ptLst>
  <dgm:cxnLst>
    <dgm:cxn modelId="{DB5013AC-A48E-43D2-8F35-BAD31C3DA918}" srcId="{05B44E8E-1374-4FE1-AE24-61104ABBFAAC}" destId="{4C30091C-5C16-494D-AAC9-82E41B4D1DBD}" srcOrd="1" destOrd="0" parTransId="{40D83F80-21F1-48CA-B411-FCABCECA3301}" sibTransId="{3A19F9EA-B2F2-4C27-8D89-31C5D13B3ADD}"/>
    <dgm:cxn modelId="{A1F12DDC-D921-40D6-98D0-AEFFF2BA85F7}" srcId="{4532B939-F026-4802-B408-0FCD20B36788}" destId="{05B44E8E-1374-4FE1-AE24-61104ABBFAAC}" srcOrd="0" destOrd="0" parTransId="{DD7919AF-6E8E-488E-AE4D-7D04109A3BC8}" sibTransId="{B1E47360-344E-46A2-84E7-10FF1A430A2B}"/>
    <dgm:cxn modelId="{E3FE8A0E-0DC5-46E1-A778-0642B2A59E44}" srcId="{95CA2638-C6ED-40AF-99D4-752AF5BCD8BF}" destId="{50111852-CDEE-4E39-8E7A-46967351EE33}" srcOrd="0" destOrd="0" parTransId="{5B675088-A8C7-4AD2-91D0-A1510BBE580D}" sibTransId="{14D39F7C-3761-4D15-9DAA-257DABF9BC66}"/>
    <dgm:cxn modelId="{360AE7FD-E326-497E-A26F-E3CD0F95644D}" srcId="{95CA2638-C6ED-40AF-99D4-752AF5BCD8BF}" destId="{4532B939-F026-4802-B408-0FCD20B36788}" srcOrd="1" destOrd="0" parTransId="{8E94BCE0-5D56-40A3-BFD7-B449ED5B85E6}" sibTransId="{612211E2-F295-4120-B971-85485ACE355A}"/>
    <dgm:cxn modelId="{8AD64D10-A0CC-46B7-81C9-475268D3EB8C}" type="presOf" srcId="{3E99B07F-E325-4CF2-A76C-29DF2184F359}" destId="{43CD1E0D-A594-421F-AA49-5DC2DFADA380}" srcOrd="0" destOrd="0" presId="urn:microsoft.com/office/officeart/2005/8/layout/hierarchy4"/>
    <dgm:cxn modelId="{C3733EBD-D6FD-4A64-B09F-011C11E10307}" srcId="{64FBD436-7B50-4130-B5BC-F11156B5FCEC}" destId="{B23D3A30-8374-41F7-BFEC-DA63FEA1F712}" srcOrd="2" destOrd="0" parTransId="{DD6C0D01-9F90-443F-B6A6-DA0DF77FAC3E}" sibTransId="{58044A65-C771-4545-A6C1-4567C38E4D80}"/>
    <dgm:cxn modelId="{E16A8CEB-EA23-4B92-BBB4-4932C94CDABF}" type="presOf" srcId="{B23D3A30-8374-41F7-BFEC-DA63FEA1F712}" destId="{07DE010B-4DA5-44E7-81B4-7FBB4E7A75D4}" srcOrd="0" destOrd="0" presId="urn:microsoft.com/office/officeart/2005/8/layout/hierarchy4"/>
    <dgm:cxn modelId="{710F593F-B880-43D5-B28E-1A169943EBD1}" type="presOf" srcId="{4532B939-F026-4802-B408-0FCD20B36788}" destId="{FBF15371-A706-49D7-A93F-170D47293347}" srcOrd="0" destOrd="0" presId="urn:microsoft.com/office/officeart/2005/8/layout/hierarchy4"/>
    <dgm:cxn modelId="{2C031CBC-3CB3-45E7-89DD-E5C87946238C}" srcId="{64FBD436-7B50-4130-B5BC-F11156B5FCEC}" destId="{0BB8C5E9-258C-4558-A95C-9EDE5C81CBD1}" srcOrd="0" destOrd="0" parTransId="{67AFB2C0-8154-4BDB-AEC4-6F6BFCBF71FC}" sibTransId="{EE0AD2BD-FA9A-4889-BAA9-685E91480330}"/>
    <dgm:cxn modelId="{1D609304-A2B7-462E-BBF5-4EE31AABCB2B}" srcId="{95CA2638-C6ED-40AF-99D4-752AF5BCD8BF}" destId="{3E99B07F-E325-4CF2-A76C-29DF2184F359}" srcOrd="2" destOrd="0" parTransId="{89DF91A1-6B2C-4D26-94AC-E986271B8E0A}" sibTransId="{F509746C-D3CF-42C9-96F5-B06FD2B70D06}"/>
    <dgm:cxn modelId="{05BAE2EA-05BA-4C44-B554-932D754B9D6F}" type="presOf" srcId="{D0710536-0E69-424A-8C25-112E0C5989BF}" destId="{31967CD4-B9F8-4269-8BDB-83F7F187CC65}" srcOrd="0" destOrd="0" presId="urn:microsoft.com/office/officeart/2005/8/layout/hierarchy4"/>
    <dgm:cxn modelId="{503D4625-2CCC-4093-AA42-DE078EBF55B1}" type="presOf" srcId="{50111852-CDEE-4E39-8E7A-46967351EE33}" destId="{351CD996-F289-4785-8B80-D15AFF9E9E6B}" srcOrd="0" destOrd="0" presId="urn:microsoft.com/office/officeart/2005/8/layout/hierarchy4"/>
    <dgm:cxn modelId="{67BD3386-2474-477C-A1EB-40E5E2B95DAA}" type="presOf" srcId="{0BB8C5E9-258C-4558-A95C-9EDE5C81CBD1}" destId="{6D1F7077-EA47-4496-96B7-1743B5C57582}" srcOrd="0" destOrd="0" presId="urn:microsoft.com/office/officeart/2005/8/layout/hierarchy4"/>
    <dgm:cxn modelId="{52DCC177-4332-4F05-B2DC-66F8EC0F084D}" srcId="{64FBD436-7B50-4130-B5BC-F11156B5FCEC}" destId="{D0710536-0E69-424A-8C25-112E0C5989BF}" srcOrd="3" destOrd="0" parTransId="{280D865D-C970-472C-83EC-A1F1106A6289}" sibTransId="{27DF131C-E0C8-4DE6-86C6-C2B2A991DC52}"/>
    <dgm:cxn modelId="{29A00B40-3135-49C6-A4B7-26EAC3172FF6}" type="presOf" srcId="{393854C0-B964-494A-901D-8173524F40B8}" destId="{1358CD96-D9FB-4ED9-8DEC-EA1D8CF1DEEA}" srcOrd="0" destOrd="0" presId="urn:microsoft.com/office/officeart/2005/8/layout/hierarchy4"/>
    <dgm:cxn modelId="{36F6BCD6-6518-427C-8E3F-7EF9F0D7EF01}" srcId="{4532B939-F026-4802-B408-0FCD20B36788}" destId="{64FBD436-7B50-4130-B5BC-F11156B5FCEC}" srcOrd="1" destOrd="0" parTransId="{7B770C48-12C2-477F-B7EA-29CE79FDD0DA}" sibTransId="{D054E5CE-739B-4E43-89E2-26DE62652D36}"/>
    <dgm:cxn modelId="{5E6C5D69-1458-4904-BE7A-57F4490DFFF1}" srcId="{64FBD436-7B50-4130-B5BC-F11156B5FCEC}" destId="{70D65423-1630-41F7-8672-6C95312FA22E}" srcOrd="4" destOrd="0" parTransId="{0F8AA4CA-8544-48B5-80A4-589744FCAE6B}" sibTransId="{8343E03B-7A71-41CD-82FA-2332C5A9F4A8}"/>
    <dgm:cxn modelId="{B3F57F0D-3922-4219-8289-458D90A0392F}" type="presOf" srcId="{05B44E8E-1374-4FE1-AE24-61104ABBFAAC}" destId="{FA91B1EE-AED5-47B5-B637-4F5C9ECE33FE}" srcOrd="0" destOrd="0" presId="urn:microsoft.com/office/officeart/2005/8/layout/hierarchy4"/>
    <dgm:cxn modelId="{AF2E4D0D-59FB-491E-AE9E-A32DD89A4FC5}" type="presOf" srcId="{4C30091C-5C16-494D-AAC9-82E41B4D1DBD}" destId="{25AD7C27-BD39-468E-BC24-1DDCBB7908A6}" srcOrd="0" destOrd="0" presId="urn:microsoft.com/office/officeart/2005/8/layout/hierarchy4"/>
    <dgm:cxn modelId="{DBB47013-231A-44F0-BEA7-BAF9A05ACAEC}" type="presOf" srcId="{95CA2638-C6ED-40AF-99D4-752AF5BCD8BF}" destId="{72F029A4-34A3-47B6-96E5-CB7D6BF555BD}" srcOrd="0" destOrd="0" presId="urn:microsoft.com/office/officeart/2005/8/layout/hierarchy4"/>
    <dgm:cxn modelId="{D021B078-8C4D-40FD-B8F2-0B18E649D993}" srcId="{64FBD436-7B50-4130-B5BC-F11156B5FCEC}" destId="{393854C0-B964-494A-901D-8173524F40B8}" srcOrd="1" destOrd="0" parTransId="{249A32D6-6225-446B-8643-45CF4A6333ED}" sibTransId="{40D6778D-8BF2-46F4-89B0-6641F8B87E69}"/>
    <dgm:cxn modelId="{58AF2007-FAC4-4F4E-B5EF-E285DD2009F1}" type="presOf" srcId="{70D65423-1630-41F7-8672-6C95312FA22E}" destId="{2E5D4B5E-44E3-4AD4-954C-099547AF5851}" srcOrd="0" destOrd="0" presId="urn:microsoft.com/office/officeart/2005/8/layout/hierarchy4"/>
    <dgm:cxn modelId="{2E7C54B8-83F7-4357-A110-D994B0F28209}" srcId="{05B44E8E-1374-4FE1-AE24-61104ABBFAAC}" destId="{D66B9192-6B1B-419E-8A4B-6046ECAE67AB}" srcOrd="0" destOrd="0" parTransId="{C2AB1834-EF2C-4B9D-AFD6-CB44221ACCA7}" sibTransId="{F5ED2BC1-F183-4203-A44C-6B192A81277C}"/>
    <dgm:cxn modelId="{F40CD229-86A0-4877-A00F-09AFEF5621D6}" type="presOf" srcId="{64FBD436-7B50-4130-B5BC-F11156B5FCEC}" destId="{E95CCC36-2A4D-470F-9751-82BAFFF7CA84}" srcOrd="0" destOrd="0" presId="urn:microsoft.com/office/officeart/2005/8/layout/hierarchy4"/>
    <dgm:cxn modelId="{282670E2-2F85-4159-B761-5274BB35197F}" type="presOf" srcId="{D66B9192-6B1B-419E-8A4B-6046ECAE67AB}" destId="{E402C7E3-4043-4EED-B7E6-64A81C71202D}" srcOrd="0" destOrd="0" presId="urn:microsoft.com/office/officeart/2005/8/layout/hierarchy4"/>
    <dgm:cxn modelId="{BB5D9852-F382-4E4E-B591-30C2F64F5693}" type="presParOf" srcId="{72F029A4-34A3-47B6-96E5-CB7D6BF555BD}" destId="{5F2DEC10-356B-4864-B66E-1FF235D9975C}" srcOrd="0" destOrd="0" presId="urn:microsoft.com/office/officeart/2005/8/layout/hierarchy4"/>
    <dgm:cxn modelId="{52945049-B311-4522-BC15-C6E46F3B4BBA}" type="presParOf" srcId="{5F2DEC10-356B-4864-B66E-1FF235D9975C}" destId="{351CD996-F289-4785-8B80-D15AFF9E9E6B}" srcOrd="0" destOrd="0" presId="urn:microsoft.com/office/officeart/2005/8/layout/hierarchy4"/>
    <dgm:cxn modelId="{546E6780-7B1C-401A-8483-2780C753126A}" type="presParOf" srcId="{5F2DEC10-356B-4864-B66E-1FF235D9975C}" destId="{DCE28DA3-EA41-4236-8477-297090693D54}" srcOrd="1" destOrd="0" presId="urn:microsoft.com/office/officeart/2005/8/layout/hierarchy4"/>
    <dgm:cxn modelId="{B24AE4F9-E420-4253-9D74-19F34D9E9CEC}" type="presParOf" srcId="{72F029A4-34A3-47B6-96E5-CB7D6BF555BD}" destId="{4E59905B-35C9-4DF8-B145-1EA7C5750A16}" srcOrd="1" destOrd="0" presId="urn:microsoft.com/office/officeart/2005/8/layout/hierarchy4"/>
    <dgm:cxn modelId="{9D90F983-130E-4EFD-A929-1C73B6D3B542}" type="presParOf" srcId="{72F029A4-34A3-47B6-96E5-CB7D6BF555BD}" destId="{876DEEBA-3E72-485F-A62E-CE8736752E48}" srcOrd="2" destOrd="0" presId="urn:microsoft.com/office/officeart/2005/8/layout/hierarchy4"/>
    <dgm:cxn modelId="{0CE11719-C1A3-4543-8354-73BF1F4DF4A8}" type="presParOf" srcId="{876DEEBA-3E72-485F-A62E-CE8736752E48}" destId="{FBF15371-A706-49D7-A93F-170D47293347}" srcOrd="0" destOrd="0" presId="urn:microsoft.com/office/officeart/2005/8/layout/hierarchy4"/>
    <dgm:cxn modelId="{F85964D8-3EFF-4201-A733-96571EA526B7}" type="presParOf" srcId="{876DEEBA-3E72-485F-A62E-CE8736752E48}" destId="{6BF065A1-7536-4FF7-B176-D077AF23C362}" srcOrd="1" destOrd="0" presId="urn:microsoft.com/office/officeart/2005/8/layout/hierarchy4"/>
    <dgm:cxn modelId="{ED312CC0-B411-4CEE-B3DB-6ACF706EA7F7}" type="presParOf" srcId="{876DEEBA-3E72-485F-A62E-CE8736752E48}" destId="{C3939C8B-B172-41A6-AE6E-3D44AA939B4F}" srcOrd="2" destOrd="0" presId="urn:microsoft.com/office/officeart/2005/8/layout/hierarchy4"/>
    <dgm:cxn modelId="{74FF825E-B563-4C1C-BA85-0F1209AD320F}" type="presParOf" srcId="{C3939C8B-B172-41A6-AE6E-3D44AA939B4F}" destId="{C3F0F23F-AB18-4BDC-A37D-68DA1BAD9933}" srcOrd="0" destOrd="0" presId="urn:microsoft.com/office/officeart/2005/8/layout/hierarchy4"/>
    <dgm:cxn modelId="{92D5DF2D-FF76-469F-9C56-C4DA28AFC178}" type="presParOf" srcId="{C3F0F23F-AB18-4BDC-A37D-68DA1BAD9933}" destId="{FA91B1EE-AED5-47B5-B637-4F5C9ECE33FE}" srcOrd="0" destOrd="0" presId="urn:microsoft.com/office/officeart/2005/8/layout/hierarchy4"/>
    <dgm:cxn modelId="{30D34501-D67D-44E6-A335-B66DB0C72A92}" type="presParOf" srcId="{C3F0F23F-AB18-4BDC-A37D-68DA1BAD9933}" destId="{937A4D5C-415D-4B07-9E74-021BC96E8A92}" srcOrd="1" destOrd="0" presId="urn:microsoft.com/office/officeart/2005/8/layout/hierarchy4"/>
    <dgm:cxn modelId="{2C975ACF-CCF5-4989-8E1D-97F69C94EA21}" type="presParOf" srcId="{C3F0F23F-AB18-4BDC-A37D-68DA1BAD9933}" destId="{048194F1-34FF-4B37-8F5D-2E75A4E3FEBD}" srcOrd="2" destOrd="0" presId="urn:microsoft.com/office/officeart/2005/8/layout/hierarchy4"/>
    <dgm:cxn modelId="{4A5F7296-B096-41AC-BB34-DB3EAA56A50E}" type="presParOf" srcId="{048194F1-34FF-4B37-8F5D-2E75A4E3FEBD}" destId="{914609B5-C8E5-4E53-939A-A1025778B0EE}" srcOrd="0" destOrd="0" presId="urn:microsoft.com/office/officeart/2005/8/layout/hierarchy4"/>
    <dgm:cxn modelId="{2488CE7A-EAC0-4749-B7DC-8B7D0960E77A}" type="presParOf" srcId="{914609B5-C8E5-4E53-939A-A1025778B0EE}" destId="{E402C7E3-4043-4EED-B7E6-64A81C71202D}" srcOrd="0" destOrd="0" presId="urn:microsoft.com/office/officeart/2005/8/layout/hierarchy4"/>
    <dgm:cxn modelId="{2B0C2A30-C562-46B1-B483-00E5A44B9841}" type="presParOf" srcId="{914609B5-C8E5-4E53-939A-A1025778B0EE}" destId="{C439A01A-E88A-466C-85D4-87D3FE4420AB}" srcOrd="1" destOrd="0" presId="urn:microsoft.com/office/officeart/2005/8/layout/hierarchy4"/>
    <dgm:cxn modelId="{978734FC-6A21-4EAA-AB98-B5640CE434AE}" type="presParOf" srcId="{048194F1-34FF-4B37-8F5D-2E75A4E3FEBD}" destId="{36951408-819B-4F2F-80C8-BADD174BD56D}" srcOrd="1" destOrd="0" presId="urn:microsoft.com/office/officeart/2005/8/layout/hierarchy4"/>
    <dgm:cxn modelId="{F32E18F9-4362-42F0-98BC-E87F5EEE91DA}" type="presParOf" srcId="{048194F1-34FF-4B37-8F5D-2E75A4E3FEBD}" destId="{9B0BA8B1-DB14-42DB-9370-3A7A6123FD89}" srcOrd="2" destOrd="0" presId="urn:microsoft.com/office/officeart/2005/8/layout/hierarchy4"/>
    <dgm:cxn modelId="{697111C2-F04D-43D0-ABBB-2487DE84A234}" type="presParOf" srcId="{9B0BA8B1-DB14-42DB-9370-3A7A6123FD89}" destId="{25AD7C27-BD39-468E-BC24-1DDCBB7908A6}" srcOrd="0" destOrd="0" presId="urn:microsoft.com/office/officeart/2005/8/layout/hierarchy4"/>
    <dgm:cxn modelId="{14A0F0F4-55D7-471C-AB9B-857FE0815125}" type="presParOf" srcId="{9B0BA8B1-DB14-42DB-9370-3A7A6123FD89}" destId="{B09D35F0-9BD1-47B1-8F2A-64580A6D14DA}" srcOrd="1" destOrd="0" presId="urn:microsoft.com/office/officeart/2005/8/layout/hierarchy4"/>
    <dgm:cxn modelId="{46EC482E-3971-415C-A933-C858AD11F125}" type="presParOf" srcId="{C3939C8B-B172-41A6-AE6E-3D44AA939B4F}" destId="{BEF83D03-1B97-4F7C-A3CE-91A186DAE2E9}" srcOrd="1" destOrd="0" presId="urn:microsoft.com/office/officeart/2005/8/layout/hierarchy4"/>
    <dgm:cxn modelId="{E43FEB11-3A56-45EF-94CD-A6300EECF171}" type="presParOf" srcId="{C3939C8B-B172-41A6-AE6E-3D44AA939B4F}" destId="{36287442-9F19-4697-A5DF-808FDFA2F679}" srcOrd="2" destOrd="0" presId="urn:microsoft.com/office/officeart/2005/8/layout/hierarchy4"/>
    <dgm:cxn modelId="{C561BAD7-E5A1-4B2B-ABD1-7D7912BFC48D}" type="presParOf" srcId="{36287442-9F19-4697-A5DF-808FDFA2F679}" destId="{E95CCC36-2A4D-470F-9751-82BAFFF7CA84}" srcOrd="0" destOrd="0" presId="urn:microsoft.com/office/officeart/2005/8/layout/hierarchy4"/>
    <dgm:cxn modelId="{2A83793A-F850-49A2-A195-DAC7F7207AA7}" type="presParOf" srcId="{36287442-9F19-4697-A5DF-808FDFA2F679}" destId="{58FCC4E6-E83B-4AE5-90BC-4E4E61CD251A}" srcOrd="1" destOrd="0" presId="urn:microsoft.com/office/officeart/2005/8/layout/hierarchy4"/>
    <dgm:cxn modelId="{88CBDFFA-39CE-41F0-8EE4-3E3C955C6B73}" type="presParOf" srcId="{36287442-9F19-4697-A5DF-808FDFA2F679}" destId="{B8D45825-371C-421F-877F-49173B090BC6}" srcOrd="2" destOrd="0" presId="urn:microsoft.com/office/officeart/2005/8/layout/hierarchy4"/>
    <dgm:cxn modelId="{77B18081-85A9-4DB8-97E6-FC32241155D4}" type="presParOf" srcId="{B8D45825-371C-421F-877F-49173B090BC6}" destId="{161E3498-3866-4822-878A-AD9263E76524}" srcOrd="0" destOrd="0" presId="urn:microsoft.com/office/officeart/2005/8/layout/hierarchy4"/>
    <dgm:cxn modelId="{6108CB84-3166-48D1-AB1A-FF459BF5B5BA}" type="presParOf" srcId="{161E3498-3866-4822-878A-AD9263E76524}" destId="{6D1F7077-EA47-4496-96B7-1743B5C57582}" srcOrd="0" destOrd="0" presId="urn:microsoft.com/office/officeart/2005/8/layout/hierarchy4"/>
    <dgm:cxn modelId="{A46D8DF5-F85E-460D-94E8-3351C7B062AD}" type="presParOf" srcId="{161E3498-3866-4822-878A-AD9263E76524}" destId="{3CD1EADE-9D57-4C5C-9F52-113149CCEB72}" srcOrd="1" destOrd="0" presId="urn:microsoft.com/office/officeart/2005/8/layout/hierarchy4"/>
    <dgm:cxn modelId="{B0FD12C1-7571-4365-8461-126F884DF982}" type="presParOf" srcId="{B8D45825-371C-421F-877F-49173B090BC6}" destId="{5B2C88ED-FDF9-405E-AFA2-F105C78ED4E5}" srcOrd="1" destOrd="0" presId="urn:microsoft.com/office/officeart/2005/8/layout/hierarchy4"/>
    <dgm:cxn modelId="{2A2659B1-7A3A-4C39-AEE5-32D09D3662D2}" type="presParOf" srcId="{B8D45825-371C-421F-877F-49173B090BC6}" destId="{FD414F2C-3764-41F3-A799-76543D918818}" srcOrd="2" destOrd="0" presId="urn:microsoft.com/office/officeart/2005/8/layout/hierarchy4"/>
    <dgm:cxn modelId="{DF2F4C02-6CE4-47B9-B3DE-803DF701F822}" type="presParOf" srcId="{FD414F2C-3764-41F3-A799-76543D918818}" destId="{1358CD96-D9FB-4ED9-8DEC-EA1D8CF1DEEA}" srcOrd="0" destOrd="0" presId="urn:microsoft.com/office/officeart/2005/8/layout/hierarchy4"/>
    <dgm:cxn modelId="{0B9779C7-FD0B-4E21-8B86-482843D32BD5}" type="presParOf" srcId="{FD414F2C-3764-41F3-A799-76543D918818}" destId="{D3DE8B9F-D05A-4C30-B35F-27FD4C9F0FB1}" srcOrd="1" destOrd="0" presId="urn:microsoft.com/office/officeart/2005/8/layout/hierarchy4"/>
    <dgm:cxn modelId="{1F1D4FA2-6139-44D9-AFF8-C37640528E27}" type="presParOf" srcId="{B8D45825-371C-421F-877F-49173B090BC6}" destId="{039F11D9-1B9D-4F26-AE9E-4C4A50BCB11A}" srcOrd="3" destOrd="0" presId="urn:microsoft.com/office/officeart/2005/8/layout/hierarchy4"/>
    <dgm:cxn modelId="{2F66E80A-E5CF-4172-A1E0-5590DA118EA5}" type="presParOf" srcId="{B8D45825-371C-421F-877F-49173B090BC6}" destId="{E76302AE-2E21-4EFD-A20A-FFF25DE4C7F8}" srcOrd="4" destOrd="0" presId="urn:microsoft.com/office/officeart/2005/8/layout/hierarchy4"/>
    <dgm:cxn modelId="{5FA25710-CABF-47B9-B2A6-9B9C1B1E45CB}" type="presParOf" srcId="{E76302AE-2E21-4EFD-A20A-FFF25DE4C7F8}" destId="{07DE010B-4DA5-44E7-81B4-7FBB4E7A75D4}" srcOrd="0" destOrd="0" presId="urn:microsoft.com/office/officeart/2005/8/layout/hierarchy4"/>
    <dgm:cxn modelId="{48F68994-178E-4DB3-BB97-2B8D1E087349}" type="presParOf" srcId="{E76302AE-2E21-4EFD-A20A-FFF25DE4C7F8}" destId="{25A027CD-B9F1-4E1E-A9D5-02A240B8735F}" srcOrd="1" destOrd="0" presId="urn:microsoft.com/office/officeart/2005/8/layout/hierarchy4"/>
    <dgm:cxn modelId="{0EBF650A-6565-4B74-B0E7-6CB2750B1ED3}" type="presParOf" srcId="{B8D45825-371C-421F-877F-49173B090BC6}" destId="{FE90CC21-DDEF-466D-AC87-169501092926}" srcOrd="5" destOrd="0" presId="urn:microsoft.com/office/officeart/2005/8/layout/hierarchy4"/>
    <dgm:cxn modelId="{EE63D7D4-1EEC-44DA-B850-171B68D1023A}" type="presParOf" srcId="{B8D45825-371C-421F-877F-49173B090BC6}" destId="{59085787-4434-45DF-AEF0-9BDAF8E7C0F4}" srcOrd="6" destOrd="0" presId="urn:microsoft.com/office/officeart/2005/8/layout/hierarchy4"/>
    <dgm:cxn modelId="{11A54BA6-C406-42C1-A4EF-B86A44767106}" type="presParOf" srcId="{59085787-4434-45DF-AEF0-9BDAF8E7C0F4}" destId="{31967CD4-B9F8-4269-8BDB-83F7F187CC65}" srcOrd="0" destOrd="0" presId="urn:microsoft.com/office/officeart/2005/8/layout/hierarchy4"/>
    <dgm:cxn modelId="{1C145E90-0748-40AD-AF68-5413D7F800A5}" type="presParOf" srcId="{59085787-4434-45DF-AEF0-9BDAF8E7C0F4}" destId="{D7B97257-1184-452E-9D46-2F24FAF17EAA}" srcOrd="1" destOrd="0" presId="urn:microsoft.com/office/officeart/2005/8/layout/hierarchy4"/>
    <dgm:cxn modelId="{D32FC3DE-5496-45BB-B775-F389F08B6DE3}" type="presParOf" srcId="{B8D45825-371C-421F-877F-49173B090BC6}" destId="{679BE813-5A0A-438F-80C2-0434147F3E64}" srcOrd="7" destOrd="0" presId="urn:microsoft.com/office/officeart/2005/8/layout/hierarchy4"/>
    <dgm:cxn modelId="{8F05CC56-B7F0-47BA-856D-DEF1C6D6C12A}" type="presParOf" srcId="{B8D45825-371C-421F-877F-49173B090BC6}" destId="{CFEF09AA-D045-4B72-AD45-152EBE5D6739}" srcOrd="8" destOrd="0" presId="urn:microsoft.com/office/officeart/2005/8/layout/hierarchy4"/>
    <dgm:cxn modelId="{D3434EE8-6CFB-48D6-8E30-542566F093C5}" type="presParOf" srcId="{CFEF09AA-D045-4B72-AD45-152EBE5D6739}" destId="{2E5D4B5E-44E3-4AD4-954C-099547AF5851}" srcOrd="0" destOrd="0" presId="urn:microsoft.com/office/officeart/2005/8/layout/hierarchy4"/>
    <dgm:cxn modelId="{E514FB71-9DBD-4E8F-9255-32CB22D9C258}" type="presParOf" srcId="{CFEF09AA-D045-4B72-AD45-152EBE5D6739}" destId="{0BCDF4EC-AB6F-43C8-9D12-C0AF4D90BE25}" srcOrd="1" destOrd="0" presId="urn:microsoft.com/office/officeart/2005/8/layout/hierarchy4"/>
    <dgm:cxn modelId="{C35939B2-4AE4-41EF-8C19-6EE4E886D0BD}" type="presParOf" srcId="{72F029A4-34A3-47B6-96E5-CB7D6BF555BD}" destId="{01221942-6CD4-49A4-8C04-648F19512682}" srcOrd="3" destOrd="0" presId="urn:microsoft.com/office/officeart/2005/8/layout/hierarchy4"/>
    <dgm:cxn modelId="{3D0B8225-17C7-4EAC-A307-5A3CB87441E7}" type="presParOf" srcId="{72F029A4-34A3-47B6-96E5-CB7D6BF555BD}" destId="{9B0FA6B9-2271-47D6-8860-8104ED7AE800}" srcOrd="4" destOrd="0" presId="urn:microsoft.com/office/officeart/2005/8/layout/hierarchy4"/>
    <dgm:cxn modelId="{19E31817-2689-4711-9FDC-DAC67792711B}" type="presParOf" srcId="{9B0FA6B9-2271-47D6-8860-8104ED7AE800}" destId="{43CD1E0D-A594-421F-AA49-5DC2DFADA380}" srcOrd="0" destOrd="0" presId="urn:microsoft.com/office/officeart/2005/8/layout/hierarchy4"/>
    <dgm:cxn modelId="{DB353E4A-23AE-4E0E-B837-FDD5E150ED00}" type="presParOf" srcId="{9B0FA6B9-2271-47D6-8860-8104ED7AE800}" destId="{F88E0E27-3C68-4A3A-901B-CE19CA3AD46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5B7D35-2B7A-4DD2-8205-9738072B99D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7687020-DE9D-40E0-BEC8-D461252B2751}">
      <dgm:prSet phldrT="[Text]"/>
      <dgm:spPr/>
      <dgm:t>
        <a:bodyPr/>
        <a:lstStyle/>
        <a:p>
          <a:r>
            <a:rPr lang="el-GR" dirty="0" smtClean="0"/>
            <a:t>Ζήτηση</a:t>
          </a:r>
          <a:endParaRPr lang="en-US" dirty="0"/>
        </a:p>
      </dgm:t>
    </dgm:pt>
    <dgm:pt modelId="{28516472-9066-4FBF-834B-ED64E9084A63}" type="parTrans" cxnId="{944C4F49-D44D-4FF4-9655-3ABB22CF1CD1}">
      <dgm:prSet/>
      <dgm:spPr/>
      <dgm:t>
        <a:bodyPr/>
        <a:lstStyle/>
        <a:p>
          <a:endParaRPr lang="en-US"/>
        </a:p>
      </dgm:t>
    </dgm:pt>
    <dgm:pt modelId="{05607693-CE2F-4CFF-80F8-D5612745DC55}" type="sibTrans" cxnId="{944C4F49-D44D-4FF4-9655-3ABB22CF1CD1}">
      <dgm:prSet/>
      <dgm:spPr/>
      <dgm:t>
        <a:bodyPr/>
        <a:lstStyle/>
        <a:p>
          <a:endParaRPr lang="en-US"/>
        </a:p>
      </dgm:t>
    </dgm:pt>
    <dgm:pt modelId="{0BB80CA6-F0E9-4BFA-8640-AF8729368456}">
      <dgm:prSet phldrT="[Text]"/>
      <dgm:spPr/>
      <dgm:t>
        <a:bodyPr/>
        <a:lstStyle/>
        <a:p>
          <a:pPr algn="l"/>
          <a:r>
            <a:rPr lang="el-GR" dirty="0" smtClean="0"/>
            <a:t>Παραγωγή ενέργειας από καθαρότερες πηγές όπως αιολική, ηλιακή, </a:t>
          </a:r>
          <a:r>
            <a:rPr lang="el-GR" dirty="0" err="1" smtClean="0"/>
            <a:t>βιοκαύσιμα</a:t>
          </a:r>
          <a:r>
            <a:rPr lang="el-GR" dirty="0" smtClean="0"/>
            <a:t>, πυρηνικά κλπ.</a:t>
          </a:r>
          <a:endParaRPr lang="en-US" dirty="0"/>
        </a:p>
      </dgm:t>
    </dgm:pt>
    <dgm:pt modelId="{323A0659-3FDA-472F-A64F-7DDE99800FDC}" type="parTrans" cxnId="{620863BC-0F3A-482B-A0E3-8BD68E521738}">
      <dgm:prSet/>
      <dgm:spPr/>
      <dgm:t>
        <a:bodyPr/>
        <a:lstStyle/>
        <a:p>
          <a:endParaRPr lang="en-US"/>
        </a:p>
      </dgm:t>
    </dgm:pt>
    <dgm:pt modelId="{0416A196-FFEC-40B3-9F98-97533411748A}" type="sibTrans" cxnId="{620863BC-0F3A-482B-A0E3-8BD68E521738}">
      <dgm:prSet/>
      <dgm:spPr/>
      <dgm:t>
        <a:bodyPr/>
        <a:lstStyle/>
        <a:p>
          <a:endParaRPr lang="en-US"/>
        </a:p>
      </dgm:t>
    </dgm:pt>
    <dgm:pt modelId="{EFFFF55B-0D5A-4D9D-9B3E-2BE1AA6B2A17}">
      <dgm:prSet phldrT="[Text]"/>
      <dgm:spPr/>
      <dgm:t>
        <a:bodyPr/>
        <a:lstStyle/>
        <a:p>
          <a:r>
            <a:rPr lang="el-GR" dirty="0" smtClean="0"/>
            <a:t>Προσαρμογή</a:t>
          </a:r>
          <a:endParaRPr lang="en-US" dirty="0"/>
        </a:p>
      </dgm:t>
    </dgm:pt>
    <dgm:pt modelId="{A9F996BA-EFA1-4930-B171-9497CD9F60E4}" type="parTrans" cxnId="{37C84AB8-5BE8-45C3-A55B-27603D29FFAD}">
      <dgm:prSet/>
      <dgm:spPr/>
      <dgm:t>
        <a:bodyPr/>
        <a:lstStyle/>
        <a:p>
          <a:endParaRPr lang="en-US"/>
        </a:p>
      </dgm:t>
    </dgm:pt>
    <dgm:pt modelId="{5F8AEA1B-9778-4E6F-B32A-7BDEBFE914AE}" type="sibTrans" cxnId="{37C84AB8-5BE8-45C3-A55B-27603D29FFAD}">
      <dgm:prSet/>
      <dgm:spPr/>
      <dgm:t>
        <a:bodyPr/>
        <a:lstStyle/>
        <a:p>
          <a:endParaRPr lang="en-US"/>
        </a:p>
      </dgm:t>
    </dgm:pt>
    <dgm:pt modelId="{25F43D18-9BC4-461A-BCC1-47D2C91D294F}">
      <dgm:prSet phldrT="[Text]"/>
      <dgm:spPr/>
      <dgm:t>
        <a:bodyPr/>
        <a:lstStyle/>
        <a:p>
          <a:r>
            <a:rPr lang="el-GR" dirty="0" smtClean="0"/>
            <a:t>Μέτρα όπως η ενίσχυση της άμυνας κατά των πλημμυρών ώστε να προσαρμοστούν στις επιπτώσεις της κλιματικής αλλαγής</a:t>
          </a:r>
          <a:endParaRPr lang="en-US" dirty="0"/>
        </a:p>
      </dgm:t>
    </dgm:pt>
    <dgm:pt modelId="{9155AD81-49C3-4566-BC67-6B2DB98968E0}" type="parTrans" cxnId="{9E4F8F1D-68AE-4BA8-A53F-FE73EA555FE5}">
      <dgm:prSet/>
      <dgm:spPr/>
      <dgm:t>
        <a:bodyPr/>
        <a:lstStyle/>
        <a:p>
          <a:endParaRPr lang="en-US"/>
        </a:p>
      </dgm:t>
    </dgm:pt>
    <dgm:pt modelId="{9753FF35-4044-4C7A-82FB-39EE7FD47315}" type="sibTrans" cxnId="{9E4F8F1D-68AE-4BA8-A53F-FE73EA555FE5}">
      <dgm:prSet/>
      <dgm:spPr/>
      <dgm:t>
        <a:bodyPr/>
        <a:lstStyle/>
        <a:p>
          <a:endParaRPr lang="en-US"/>
        </a:p>
      </dgm:t>
    </dgm:pt>
    <dgm:pt modelId="{D80E53E4-9B0E-4B48-A55D-35A7243BD5DE}">
      <dgm:prSet phldrT="[Text]"/>
      <dgm:spPr/>
      <dgm:t>
        <a:bodyPr/>
        <a:lstStyle/>
        <a:p>
          <a:r>
            <a:rPr lang="el-GR" dirty="0" smtClean="0"/>
            <a:t>Αποδοτικότερες συσκευές  και μικρότερη ζήτηση από τους καταναλωτές</a:t>
          </a:r>
          <a:endParaRPr lang="en-US" dirty="0"/>
        </a:p>
      </dgm:t>
    </dgm:pt>
    <dgm:pt modelId="{E5595F4E-EC88-4B97-A658-103DE8C59625}" type="parTrans" cxnId="{AA890782-086C-4977-A1AD-FF7D1FDCD092}">
      <dgm:prSet/>
      <dgm:spPr/>
      <dgm:t>
        <a:bodyPr/>
        <a:lstStyle/>
        <a:p>
          <a:endParaRPr lang="en-US"/>
        </a:p>
      </dgm:t>
    </dgm:pt>
    <dgm:pt modelId="{D13E70E4-3A4A-426A-96B1-E112818F9D08}" type="sibTrans" cxnId="{AA890782-086C-4977-A1AD-FF7D1FDCD092}">
      <dgm:prSet/>
      <dgm:spPr/>
      <dgm:t>
        <a:bodyPr/>
        <a:lstStyle/>
        <a:p>
          <a:endParaRPr lang="en-US"/>
        </a:p>
      </dgm:t>
    </dgm:pt>
    <dgm:pt modelId="{AEEF99CA-9960-4977-B985-66477C1F48C2}">
      <dgm:prSet phldrT="[Text]"/>
      <dgm:spPr/>
      <dgm:t>
        <a:bodyPr/>
        <a:lstStyle/>
        <a:p>
          <a:r>
            <a:rPr lang="el-GR" dirty="0" smtClean="0"/>
            <a:t>Προσφορά </a:t>
          </a:r>
          <a:endParaRPr lang="en-US" dirty="0"/>
        </a:p>
      </dgm:t>
    </dgm:pt>
    <dgm:pt modelId="{43625CF0-1B33-49C5-8383-AE295D60FBD1}" type="parTrans" cxnId="{29B888C1-D192-4CF1-9858-B0423EA18633}">
      <dgm:prSet/>
      <dgm:spPr/>
      <dgm:t>
        <a:bodyPr/>
        <a:lstStyle/>
        <a:p>
          <a:endParaRPr lang="en-US"/>
        </a:p>
      </dgm:t>
    </dgm:pt>
    <dgm:pt modelId="{F20C55A3-40DB-402F-821C-54102ADF1B11}" type="sibTrans" cxnId="{29B888C1-D192-4CF1-9858-B0423EA18633}">
      <dgm:prSet/>
      <dgm:spPr/>
      <dgm:t>
        <a:bodyPr/>
        <a:lstStyle/>
        <a:p>
          <a:endParaRPr lang="en-US"/>
        </a:p>
      </dgm:t>
    </dgm:pt>
    <dgm:pt modelId="{FA69FF4D-947E-4F13-9AB8-1815207E35E7}">
      <dgm:prSet/>
      <dgm:spPr/>
      <dgm:t>
        <a:bodyPr/>
        <a:lstStyle/>
        <a:p>
          <a:r>
            <a:rPr lang="el-GR" dirty="0" smtClean="0"/>
            <a:t>Λάμπες εξοικονόμησης ενέργειας, αποδοτικότερα κλιματιστικά και καταψύκτες κλπ.</a:t>
          </a:r>
          <a:endParaRPr lang="en-US" dirty="0" smtClean="0"/>
        </a:p>
      </dgm:t>
    </dgm:pt>
    <dgm:pt modelId="{39D06967-DDC0-443F-871C-58DC9BBF895C}" type="parTrans" cxnId="{08CD0624-C3BD-4D44-A35A-5C502A4BE8E6}">
      <dgm:prSet/>
      <dgm:spPr/>
      <dgm:t>
        <a:bodyPr/>
        <a:lstStyle/>
        <a:p>
          <a:endParaRPr lang="en-US"/>
        </a:p>
      </dgm:t>
    </dgm:pt>
    <dgm:pt modelId="{8C33E046-E503-4C0F-A157-F93630CE0632}" type="sibTrans" cxnId="{08CD0624-C3BD-4D44-A35A-5C502A4BE8E6}">
      <dgm:prSet/>
      <dgm:spPr/>
      <dgm:t>
        <a:bodyPr/>
        <a:lstStyle/>
        <a:p>
          <a:endParaRPr lang="en-US"/>
        </a:p>
      </dgm:t>
    </dgm:pt>
    <dgm:pt modelId="{EAC87E3D-A9A3-488A-8445-AF1653454D1B}">
      <dgm:prSet/>
      <dgm:spPr/>
      <dgm:t>
        <a:bodyPr/>
        <a:lstStyle/>
        <a:p>
          <a:r>
            <a:rPr lang="el-GR" dirty="0" smtClean="0"/>
            <a:t>Σχεδόν το 80% των προβλεπόμενων μειώσεων του CO2 έως το 2030 θα προκύψει από την αποτελεσματικότητα της ζήτησης</a:t>
          </a:r>
          <a:endParaRPr lang="en-US" dirty="0" smtClean="0"/>
        </a:p>
      </dgm:t>
    </dgm:pt>
    <dgm:pt modelId="{7D75F1BF-D428-455B-97AE-EB73500AED93}" type="parTrans" cxnId="{AA0D23D4-AEB1-420D-A9B7-EA0224DA5C0C}">
      <dgm:prSet/>
      <dgm:spPr/>
      <dgm:t>
        <a:bodyPr/>
        <a:lstStyle/>
        <a:p>
          <a:endParaRPr lang="en-US"/>
        </a:p>
      </dgm:t>
    </dgm:pt>
    <dgm:pt modelId="{F84C5DB9-F388-450C-930E-7179142EFFAE}" type="sibTrans" cxnId="{AA0D23D4-AEB1-420D-A9B7-EA0224DA5C0C}">
      <dgm:prSet/>
      <dgm:spPr/>
      <dgm:t>
        <a:bodyPr/>
        <a:lstStyle/>
        <a:p>
          <a:endParaRPr lang="en-US"/>
        </a:p>
      </dgm:t>
    </dgm:pt>
    <dgm:pt modelId="{5CD238BA-6C31-4145-9B81-117F901502B1}">
      <dgm:prSet/>
      <dgm:spPr/>
      <dgm:t>
        <a:bodyPr/>
        <a:lstStyle/>
        <a:p>
          <a:r>
            <a:rPr lang="el-GR" dirty="0" smtClean="0"/>
            <a:t>Παραγωγή ενέργειας πιο αποτελεσματικά</a:t>
          </a:r>
          <a:endParaRPr lang="en-US" dirty="0" smtClean="0"/>
        </a:p>
      </dgm:t>
    </dgm:pt>
    <dgm:pt modelId="{67D84652-9A6D-404A-8EE4-8F0AEFD32D82}" type="parTrans" cxnId="{0BCC952C-0A55-4823-977F-A417FB304810}">
      <dgm:prSet/>
      <dgm:spPr/>
      <dgm:t>
        <a:bodyPr/>
        <a:lstStyle/>
        <a:p>
          <a:endParaRPr lang="en-US"/>
        </a:p>
      </dgm:t>
    </dgm:pt>
    <dgm:pt modelId="{A02557E8-2A34-4D00-986B-54646295C07B}" type="sibTrans" cxnId="{0BCC952C-0A55-4823-977F-A417FB304810}">
      <dgm:prSet/>
      <dgm:spPr/>
      <dgm:t>
        <a:bodyPr/>
        <a:lstStyle/>
        <a:p>
          <a:endParaRPr lang="en-US"/>
        </a:p>
      </dgm:t>
    </dgm:pt>
    <dgm:pt modelId="{96B08EEF-20A8-4F70-B021-07D3F4C49943}">
      <dgm:prSet/>
      <dgm:spPr/>
      <dgm:t>
        <a:bodyPr/>
        <a:lstStyle/>
        <a:p>
          <a:r>
            <a:rPr lang="el-GR" dirty="0" smtClean="0"/>
            <a:t>Μειώστε τις εκπομπές</a:t>
          </a:r>
          <a:endParaRPr lang="en-US" dirty="0" smtClean="0"/>
        </a:p>
      </dgm:t>
    </dgm:pt>
    <dgm:pt modelId="{D7A90F76-D5BD-4574-8889-A205F99EFA8F}" type="parTrans" cxnId="{945CD3E5-7632-4FC8-972C-586095BBE936}">
      <dgm:prSet/>
      <dgm:spPr/>
      <dgm:t>
        <a:bodyPr/>
        <a:lstStyle/>
        <a:p>
          <a:endParaRPr lang="en-US"/>
        </a:p>
      </dgm:t>
    </dgm:pt>
    <dgm:pt modelId="{4220691A-2D0F-4FD6-A6A9-F88E305FDB30}" type="sibTrans" cxnId="{945CD3E5-7632-4FC8-972C-586095BBE936}">
      <dgm:prSet/>
      <dgm:spPr/>
      <dgm:t>
        <a:bodyPr/>
        <a:lstStyle/>
        <a:p>
          <a:endParaRPr lang="en-US"/>
        </a:p>
      </dgm:t>
    </dgm:pt>
    <dgm:pt modelId="{3A338783-66DC-49C6-8AFA-ED0244B1E8AB}">
      <dgm:prSet/>
      <dgm:spPr/>
      <dgm:t>
        <a:bodyPr/>
        <a:lstStyle/>
        <a:p>
          <a:r>
            <a:rPr lang="el-GR" dirty="0" smtClean="0"/>
            <a:t>Μειώστε την αποδάσωση</a:t>
          </a:r>
          <a:endParaRPr lang="en-US" dirty="0" smtClean="0"/>
        </a:p>
      </dgm:t>
    </dgm:pt>
    <dgm:pt modelId="{45A69171-65F8-4D42-B9AC-BF1D28324D5A}" type="parTrans" cxnId="{75456BE3-50F5-436F-BCCC-DBE9C914FCDF}">
      <dgm:prSet/>
      <dgm:spPr/>
      <dgm:t>
        <a:bodyPr/>
        <a:lstStyle/>
        <a:p>
          <a:endParaRPr lang="en-US"/>
        </a:p>
      </dgm:t>
    </dgm:pt>
    <dgm:pt modelId="{63F42B4C-612B-4CD0-9419-C838435E9D04}" type="sibTrans" cxnId="{75456BE3-50F5-436F-BCCC-DBE9C914FCDF}">
      <dgm:prSet/>
      <dgm:spPr/>
      <dgm:t>
        <a:bodyPr/>
        <a:lstStyle/>
        <a:p>
          <a:endParaRPr lang="en-US"/>
        </a:p>
      </dgm:t>
    </dgm:pt>
    <dgm:pt modelId="{E65648E4-021F-4774-A397-6319E1919FDA}" type="pres">
      <dgm:prSet presAssocID="{265B7D35-2B7A-4DD2-8205-9738072B99D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60A541CB-0A27-4ACF-B972-29F441F940F7}" type="pres">
      <dgm:prSet presAssocID="{77687020-DE9D-40E0-BEC8-D461252B2751}" presName="parentText1" presStyleLbl="node1" presStyleIdx="0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A9E320-96C4-49E1-AB06-AE9E9E658F2C}" type="pres">
      <dgm:prSet presAssocID="{77687020-DE9D-40E0-BEC8-D461252B2751}" presName="childText1" presStyleLbl="solidAlignAcc1" presStyleIdx="0" presStyleCnt="3" custScaleY="147570" custLinFactNeighborY="2036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91667E-FBE5-487A-81D6-20CC5FAFE69E}" type="pres">
      <dgm:prSet presAssocID="{AEEF99CA-9960-4977-B985-66477C1F48C2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B2843D-4E28-467C-809A-77CA9EAB0FC0}" type="pres">
      <dgm:prSet presAssocID="{AEEF99CA-9960-4977-B985-66477C1F48C2}" presName="childText2" presStyleLbl="solidAlignAcc1" presStyleIdx="1" presStyleCnt="3" custScaleY="146896" custLinFactNeighborY="1685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17D0E7-33BC-4907-96E2-356ACD4BE0B0}" type="pres">
      <dgm:prSet presAssocID="{EFFFF55B-0D5A-4D9D-9B3E-2BE1AA6B2A17}" presName="parentText3" presStyleLbl="node1" presStyleIdx="2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835F55-6D7B-4CA9-B695-EF8A5644FD97}" type="pres">
      <dgm:prSet presAssocID="{EFFFF55B-0D5A-4D9D-9B3E-2BE1AA6B2A17}" presName="childText3" presStyleLbl="solidAlignAcc1" presStyleIdx="2" presStyleCnt="3" custScaleX="100649" custScaleY="146380" custLinFactNeighborY="2035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4BBF74A-9A8A-4AD4-BB2E-511B2F01262E}" type="presOf" srcId="{77687020-DE9D-40E0-BEC8-D461252B2751}" destId="{60A541CB-0A27-4ACF-B972-29F441F940F7}" srcOrd="0" destOrd="0" presId="urn:microsoft.com/office/officeart/2009/3/layout/IncreasingArrowsProcess"/>
    <dgm:cxn modelId="{0BCC952C-0A55-4823-977F-A417FB304810}" srcId="{AEEF99CA-9960-4977-B985-66477C1F48C2}" destId="{5CD238BA-6C31-4145-9B81-117F901502B1}" srcOrd="1" destOrd="0" parTransId="{67D84652-9A6D-404A-8EE4-8F0AEFD32D82}" sibTransId="{A02557E8-2A34-4D00-986B-54646295C07B}"/>
    <dgm:cxn modelId="{18B19833-4F4C-471A-8D89-E74022E72D88}" type="presOf" srcId="{25F43D18-9BC4-461A-BCC1-47D2C91D294F}" destId="{03835F55-6D7B-4CA9-B695-EF8A5644FD97}" srcOrd="0" destOrd="0" presId="urn:microsoft.com/office/officeart/2009/3/layout/IncreasingArrowsProcess"/>
    <dgm:cxn modelId="{08CD0624-C3BD-4D44-A35A-5C502A4BE8E6}" srcId="{77687020-DE9D-40E0-BEC8-D461252B2751}" destId="{FA69FF4D-947E-4F13-9AB8-1815207E35E7}" srcOrd="1" destOrd="0" parTransId="{39D06967-DDC0-443F-871C-58DC9BBF895C}" sibTransId="{8C33E046-E503-4C0F-A157-F93630CE0632}"/>
    <dgm:cxn modelId="{37C84AB8-5BE8-45C3-A55B-27603D29FFAD}" srcId="{265B7D35-2B7A-4DD2-8205-9738072B99DF}" destId="{EFFFF55B-0D5A-4D9D-9B3E-2BE1AA6B2A17}" srcOrd="2" destOrd="0" parTransId="{A9F996BA-EFA1-4930-B171-9497CD9F60E4}" sibTransId="{5F8AEA1B-9778-4E6F-B32A-7BDEBFE914AE}"/>
    <dgm:cxn modelId="{8B484F84-4700-4C70-AB1A-776A6BDEE9A0}" type="presOf" srcId="{D80E53E4-9B0E-4B48-A55D-35A7243BD5DE}" destId="{3EA9E320-96C4-49E1-AB06-AE9E9E658F2C}" srcOrd="0" destOrd="0" presId="urn:microsoft.com/office/officeart/2009/3/layout/IncreasingArrowsProcess"/>
    <dgm:cxn modelId="{620863BC-0F3A-482B-A0E3-8BD68E521738}" srcId="{AEEF99CA-9960-4977-B985-66477C1F48C2}" destId="{0BB80CA6-F0E9-4BFA-8640-AF8729368456}" srcOrd="0" destOrd="0" parTransId="{323A0659-3FDA-472F-A64F-7DDE99800FDC}" sibTransId="{0416A196-FFEC-40B3-9F98-97533411748A}"/>
    <dgm:cxn modelId="{D1D004AC-D2BC-460E-A821-2AA2FD78019B}" type="presOf" srcId="{3A338783-66DC-49C6-8AFA-ED0244B1E8AB}" destId="{BBB2843D-4E28-467C-809A-77CA9EAB0FC0}" srcOrd="0" destOrd="3" presId="urn:microsoft.com/office/officeart/2009/3/layout/IncreasingArrowsProcess"/>
    <dgm:cxn modelId="{DC3AF768-0604-4EC8-8009-849566ADC06A}" type="presOf" srcId="{0BB80CA6-F0E9-4BFA-8640-AF8729368456}" destId="{BBB2843D-4E28-467C-809A-77CA9EAB0FC0}" srcOrd="0" destOrd="0" presId="urn:microsoft.com/office/officeart/2009/3/layout/IncreasingArrowsProcess"/>
    <dgm:cxn modelId="{945CD3E5-7632-4FC8-972C-586095BBE936}" srcId="{AEEF99CA-9960-4977-B985-66477C1F48C2}" destId="{96B08EEF-20A8-4F70-B021-07D3F4C49943}" srcOrd="2" destOrd="0" parTransId="{D7A90F76-D5BD-4574-8889-A205F99EFA8F}" sibTransId="{4220691A-2D0F-4FD6-A6A9-F88E305FDB30}"/>
    <dgm:cxn modelId="{944C4F49-D44D-4FF4-9655-3ABB22CF1CD1}" srcId="{265B7D35-2B7A-4DD2-8205-9738072B99DF}" destId="{77687020-DE9D-40E0-BEC8-D461252B2751}" srcOrd="0" destOrd="0" parTransId="{28516472-9066-4FBF-834B-ED64E9084A63}" sibTransId="{05607693-CE2F-4CFF-80F8-D5612745DC55}"/>
    <dgm:cxn modelId="{0917C462-F834-49A7-83B8-583FA65853CB}" type="presOf" srcId="{EFFFF55B-0D5A-4D9D-9B3E-2BE1AA6B2A17}" destId="{3F17D0E7-33BC-4907-96E2-356ACD4BE0B0}" srcOrd="0" destOrd="0" presId="urn:microsoft.com/office/officeart/2009/3/layout/IncreasingArrowsProcess"/>
    <dgm:cxn modelId="{BC7C654C-3CC2-4F02-91F1-8FD303D48B7C}" type="presOf" srcId="{FA69FF4D-947E-4F13-9AB8-1815207E35E7}" destId="{3EA9E320-96C4-49E1-AB06-AE9E9E658F2C}" srcOrd="0" destOrd="1" presId="urn:microsoft.com/office/officeart/2009/3/layout/IncreasingArrowsProcess"/>
    <dgm:cxn modelId="{29B888C1-D192-4CF1-9858-B0423EA18633}" srcId="{265B7D35-2B7A-4DD2-8205-9738072B99DF}" destId="{AEEF99CA-9960-4977-B985-66477C1F48C2}" srcOrd="1" destOrd="0" parTransId="{43625CF0-1B33-49C5-8383-AE295D60FBD1}" sibTransId="{F20C55A3-40DB-402F-821C-54102ADF1B11}"/>
    <dgm:cxn modelId="{DFF51694-732A-4181-9E83-6A0A1778DB7C}" type="presOf" srcId="{5CD238BA-6C31-4145-9B81-117F901502B1}" destId="{BBB2843D-4E28-467C-809A-77CA9EAB0FC0}" srcOrd="0" destOrd="1" presId="urn:microsoft.com/office/officeart/2009/3/layout/IncreasingArrowsProcess"/>
    <dgm:cxn modelId="{B1EAC22A-7478-4C90-BAA2-CCD5E50FEEDC}" type="presOf" srcId="{265B7D35-2B7A-4DD2-8205-9738072B99DF}" destId="{E65648E4-021F-4774-A397-6319E1919FDA}" srcOrd="0" destOrd="0" presId="urn:microsoft.com/office/officeart/2009/3/layout/IncreasingArrowsProcess"/>
    <dgm:cxn modelId="{AA890782-086C-4977-A1AD-FF7D1FDCD092}" srcId="{77687020-DE9D-40E0-BEC8-D461252B2751}" destId="{D80E53E4-9B0E-4B48-A55D-35A7243BD5DE}" srcOrd="0" destOrd="0" parTransId="{E5595F4E-EC88-4B97-A658-103DE8C59625}" sibTransId="{D13E70E4-3A4A-426A-96B1-E112818F9D08}"/>
    <dgm:cxn modelId="{CB6D96C0-C472-4580-836A-D3B081F46F19}" type="presOf" srcId="{AEEF99CA-9960-4977-B985-66477C1F48C2}" destId="{7491667E-FBE5-487A-81D6-20CC5FAFE69E}" srcOrd="0" destOrd="0" presId="urn:microsoft.com/office/officeart/2009/3/layout/IncreasingArrowsProcess"/>
    <dgm:cxn modelId="{AA0D23D4-AEB1-420D-A9B7-EA0224DA5C0C}" srcId="{77687020-DE9D-40E0-BEC8-D461252B2751}" destId="{EAC87E3D-A9A3-488A-8445-AF1653454D1B}" srcOrd="2" destOrd="0" parTransId="{7D75F1BF-D428-455B-97AE-EB73500AED93}" sibTransId="{F84C5DB9-F388-450C-930E-7179142EFFAE}"/>
    <dgm:cxn modelId="{A748AB0A-0ACB-4358-8727-6C819B398A19}" type="presOf" srcId="{96B08EEF-20A8-4F70-B021-07D3F4C49943}" destId="{BBB2843D-4E28-467C-809A-77CA9EAB0FC0}" srcOrd="0" destOrd="2" presId="urn:microsoft.com/office/officeart/2009/3/layout/IncreasingArrowsProcess"/>
    <dgm:cxn modelId="{8CDE75A2-B88B-4852-A9FF-DAC6F265EAD2}" type="presOf" srcId="{EAC87E3D-A9A3-488A-8445-AF1653454D1B}" destId="{3EA9E320-96C4-49E1-AB06-AE9E9E658F2C}" srcOrd="0" destOrd="2" presId="urn:microsoft.com/office/officeart/2009/3/layout/IncreasingArrowsProcess"/>
    <dgm:cxn modelId="{75456BE3-50F5-436F-BCCC-DBE9C914FCDF}" srcId="{AEEF99CA-9960-4977-B985-66477C1F48C2}" destId="{3A338783-66DC-49C6-8AFA-ED0244B1E8AB}" srcOrd="3" destOrd="0" parTransId="{45A69171-65F8-4D42-B9AC-BF1D28324D5A}" sibTransId="{63F42B4C-612B-4CD0-9419-C838435E9D04}"/>
    <dgm:cxn modelId="{9E4F8F1D-68AE-4BA8-A53F-FE73EA555FE5}" srcId="{EFFFF55B-0D5A-4D9D-9B3E-2BE1AA6B2A17}" destId="{25F43D18-9BC4-461A-BCC1-47D2C91D294F}" srcOrd="0" destOrd="0" parTransId="{9155AD81-49C3-4566-BC67-6B2DB98968E0}" sibTransId="{9753FF35-4044-4C7A-82FB-39EE7FD47315}"/>
    <dgm:cxn modelId="{645366D8-0591-403B-A3AF-D77AF7CFF131}" type="presParOf" srcId="{E65648E4-021F-4774-A397-6319E1919FDA}" destId="{60A541CB-0A27-4ACF-B972-29F441F940F7}" srcOrd="0" destOrd="0" presId="urn:microsoft.com/office/officeart/2009/3/layout/IncreasingArrowsProcess"/>
    <dgm:cxn modelId="{B97E595A-6217-45D1-9B33-784186ED781A}" type="presParOf" srcId="{E65648E4-021F-4774-A397-6319E1919FDA}" destId="{3EA9E320-96C4-49E1-AB06-AE9E9E658F2C}" srcOrd="1" destOrd="0" presId="urn:microsoft.com/office/officeart/2009/3/layout/IncreasingArrowsProcess"/>
    <dgm:cxn modelId="{21D0BB52-7C1C-4761-A9C7-D7BB342477C8}" type="presParOf" srcId="{E65648E4-021F-4774-A397-6319E1919FDA}" destId="{7491667E-FBE5-487A-81D6-20CC5FAFE69E}" srcOrd="2" destOrd="0" presId="urn:microsoft.com/office/officeart/2009/3/layout/IncreasingArrowsProcess"/>
    <dgm:cxn modelId="{F77BD399-B464-46E4-BE5B-C8BB9F3E912F}" type="presParOf" srcId="{E65648E4-021F-4774-A397-6319E1919FDA}" destId="{BBB2843D-4E28-467C-809A-77CA9EAB0FC0}" srcOrd="3" destOrd="0" presId="urn:microsoft.com/office/officeart/2009/3/layout/IncreasingArrowsProcess"/>
    <dgm:cxn modelId="{3364957F-3E07-45C8-8487-C48CD681ADCF}" type="presParOf" srcId="{E65648E4-021F-4774-A397-6319E1919FDA}" destId="{3F17D0E7-33BC-4907-96E2-356ACD4BE0B0}" srcOrd="4" destOrd="0" presId="urn:microsoft.com/office/officeart/2009/3/layout/IncreasingArrowsProcess"/>
    <dgm:cxn modelId="{A945F63E-7E29-448B-8986-2E98BF2525F5}" type="presParOf" srcId="{E65648E4-021F-4774-A397-6319E1919FDA}" destId="{03835F55-6D7B-4CA9-B695-EF8A5644FD97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2DAC707-7F92-474F-9DBE-A2078EE08CAD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9B73D41-F6F7-4C69-B9B1-28BAD2A29C07}">
      <dgm:prSet phldrT="[Text]"/>
      <dgm:spPr/>
      <dgm:t>
        <a:bodyPr/>
        <a:lstStyle/>
        <a:p>
          <a:r>
            <a:rPr lang="en-US" dirty="0" smtClean="0"/>
            <a:t>Solar Power</a:t>
          </a:r>
          <a:endParaRPr lang="en-US" dirty="0"/>
        </a:p>
      </dgm:t>
    </dgm:pt>
    <dgm:pt modelId="{14C4D4F6-932C-4A19-96D0-11B19328A95F}" type="parTrans" cxnId="{ADCAEBF7-E01F-42CA-ACB1-341AFDA9593B}">
      <dgm:prSet/>
      <dgm:spPr/>
      <dgm:t>
        <a:bodyPr/>
        <a:lstStyle/>
        <a:p>
          <a:endParaRPr lang="en-US"/>
        </a:p>
      </dgm:t>
    </dgm:pt>
    <dgm:pt modelId="{824EBF83-453D-4581-936A-375E95AF3FC7}" type="sibTrans" cxnId="{ADCAEBF7-E01F-42CA-ACB1-341AFDA9593B}">
      <dgm:prSet/>
      <dgm:spPr/>
      <dgm:t>
        <a:bodyPr/>
        <a:lstStyle/>
        <a:p>
          <a:endParaRPr lang="en-US"/>
        </a:p>
      </dgm:t>
    </dgm:pt>
    <dgm:pt modelId="{D6A3D80D-8A07-408A-A456-1E552A675A7C}">
      <dgm:prSet phldrT="[Text]"/>
      <dgm:spPr/>
      <dgm:t>
        <a:bodyPr/>
        <a:lstStyle/>
        <a:p>
          <a:r>
            <a:rPr lang="en-US" dirty="0" smtClean="0"/>
            <a:t>Photovoltaic</a:t>
          </a:r>
          <a:endParaRPr lang="en-US" dirty="0"/>
        </a:p>
      </dgm:t>
    </dgm:pt>
    <dgm:pt modelId="{BDBAC132-711D-44F9-9C6C-9909F7234FA5}" type="parTrans" cxnId="{F379E431-25BB-4928-8677-5C05FC373CF3}">
      <dgm:prSet/>
      <dgm:spPr/>
      <dgm:t>
        <a:bodyPr/>
        <a:lstStyle/>
        <a:p>
          <a:endParaRPr lang="en-US"/>
        </a:p>
      </dgm:t>
    </dgm:pt>
    <dgm:pt modelId="{90BFCE97-918E-4A98-8437-F41870F2CFA0}" type="sibTrans" cxnId="{F379E431-25BB-4928-8677-5C05FC373CF3}">
      <dgm:prSet/>
      <dgm:spPr/>
      <dgm:t>
        <a:bodyPr/>
        <a:lstStyle/>
        <a:p>
          <a:endParaRPr lang="en-US"/>
        </a:p>
      </dgm:t>
    </dgm:pt>
    <dgm:pt modelId="{6AF5796F-517A-4994-A332-20A7AC01DDAF}">
      <dgm:prSet phldrT="[Text]"/>
      <dgm:spPr/>
      <dgm:t>
        <a:bodyPr/>
        <a:lstStyle/>
        <a:p>
          <a:r>
            <a:rPr lang="en-US" dirty="0" smtClean="0"/>
            <a:t>Solar-thermal</a:t>
          </a:r>
          <a:endParaRPr lang="en-US" dirty="0"/>
        </a:p>
      </dgm:t>
    </dgm:pt>
    <dgm:pt modelId="{DBEE4EB1-5400-4B3A-A454-DAD6CEA9C143}" type="parTrans" cxnId="{65487A8B-AC0C-4A93-8099-9332B49D7CD2}">
      <dgm:prSet/>
      <dgm:spPr/>
      <dgm:t>
        <a:bodyPr/>
        <a:lstStyle/>
        <a:p>
          <a:endParaRPr lang="en-US"/>
        </a:p>
      </dgm:t>
    </dgm:pt>
    <dgm:pt modelId="{1345582D-BA42-45D2-B4D8-B4F765EA5473}" type="sibTrans" cxnId="{65487A8B-AC0C-4A93-8099-9332B49D7CD2}">
      <dgm:prSet/>
      <dgm:spPr/>
      <dgm:t>
        <a:bodyPr/>
        <a:lstStyle/>
        <a:p>
          <a:endParaRPr lang="en-US"/>
        </a:p>
      </dgm:t>
    </dgm:pt>
    <dgm:pt modelId="{13E10CC6-7644-49EA-93DE-98167FACF31A}">
      <dgm:prSet phldrT="[Text]"/>
      <dgm:spPr/>
      <dgm:t>
        <a:bodyPr/>
        <a:lstStyle/>
        <a:p>
          <a:r>
            <a:rPr lang="en-US" dirty="0" smtClean="0"/>
            <a:t>Wind Power</a:t>
          </a:r>
          <a:endParaRPr lang="en-US" dirty="0"/>
        </a:p>
      </dgm:t>
    </dgm:pt>
    <dgm:pt modelId="{7E0997FE-A47C-4BF0-A7A6-B948E7A1DACC}" type="parTrans" cxnId="{EAE49D45-A067-4A13-BB70-D76C69CF1252}">
      <dgm:prSet/>
      <dgm:spPr/>
      <dgm:t>
        <a:bodyPr/>
        <a:lstStyle/>
        <a:p>
          <a:endParaRPr lang="en-US"/>
        </a:p>
      </dgm:t>
    </dgm:pt>
    <dgm:pt modelId="{B49E8D7F-0CCE-4798-84DC-2CB593F81AFE}" type="sibTrans" cxnId="{EAE49D45-A067-4A13-BB70-D76C69CF1252}">
      <dgm:prSet/>
      <dgm:spPr/>
      <dgm:t>
        <a:bodyPr/>
        <a:lstStyle/>
        <a:p>
          <a:endParaRPr lang="en-US"/>
        </a:p>
      </dgm:t>
    </dgm:pt>
    <dgm:pt modelId="{7BF84405-DE88-4638-9D43-E98A7DBECAE2}">
      <dgm:prSet phldrT="[Text]"/>
      <dgm:spPr/>
      <dgm:t>
        <a:bodyPr/>
        <a:lstStyle/>
        <a:p>
          <a:r>
            <a:rPr lang="en-US" dirty="0" smtClean="0"/>
            <a:t>Onshore</a:t>
          </a:r>
          <a:endParaRPr lang="en-US" dirty="0"/>
        </a:p>
      </dgm:t>
    </dgm:pt>
    <dgm:pt modelId="{E3EC53C5-EF40-4DD3-982D-A6FD89EB2657}" type="parTrans" cxnId="{ED702BB5-C38A-48ED-A104-CF79CEB65CC8}">
      <dgm:prSet/>
      <dgm:spPr/>
      <dgm:t>
        <a:bodyPr/>
        <a:lstStyle/>
        <a:p>
          <a:endParaRPr lang="en-US"/>
        </a:p>
      </dgm:t>
    </dgm:pt>
    <dgm:pt modelId="{9F2E1BFC-213B-45CA-B832-C6029A14753C}" type="sibTrans" cxnId="{ED702BB5-C38A-48ED-A104-CF79CEB65CC8}">
      <dgm:prSet/>
      <dgm:spPr/>
      <dgm:t>
        <a:bodyPr/>
        <a:lstStyle/>
        <a:p>
          <a:endParaRPr lang="en-US"/>
        </a:p>
      </dgm:t>
    </dgm:pt>
    <dgm:pt modelId="{9069A590-7AEC-44E7-960C-87D60DD63C6C}">
      <dgm:prSet phldrT="[Text]"/>
      <dgm:spPr/>
      <dgm:t>
        <a:bodyPr/>
        <a:lstStyle/>
        <a:p>
          <a:r>
            <a:rPr lang="en-US" dirty="0" smtClean="0"/>
            <a:t>Biofuels</a:t>
          </a:r>
          <a:endParaRPr lang="en-US" dirty="0"/>
        </a:p>
      </dgm:t>
    </dgm:pt>
    <dgm:pt modelId="{CEB6950E-6751-40D5-9780-CC15F7A8E166}" type="parTrans" cxnId="{F90A8C61-8CFF-4745-B9F4-2FFFE9F5BE6B}">
      <dgm:prSet/>
      <dgm:spPr/>
      <dgm:t>
        <a:bodyPr/>
        <a:lstStyle/>
        <a:p>
          <a:endParaRPr lang="en-US"/>
        </a:p>
      </dgm:t>
    </dgm:pt>
    <dgm:pt modelId="{65A9D24A-8F42-4DBE-A33A-3C656396F5C5}" type="sibTrans" cxnId="{F90A8C61-8CFF-4745-B9F4-2FFFE9F5BE6B}">
      <dgm:prSet/>
      <dgm:spPr/>
      <dgm:t>
        <a:bodyPr/>
        <a:lstStyle/>
        <a:p>
          <a:endParaRPr lang="en-US"/>
        </a:p>
      </dgm:t>
    </dgm:pt>
    <dgm:pt modelId="{18815CF3-013C-43AB-866C-5D3F1392407D}">
      <dgm:prSet phldrT="[Text]"/>
      <dgm:spPr/>
      <dgm:t>
        <a:bodyPr/>
        <a:lstStyle/>
        <a:p>
          <a:r>
            <a:rPr lang="en-US" dirty="0" smtClean="0"/>
            <a:t>Agricultural crops (1</a:t>
          </a:r>
          <a:r>
            <a:rPr lang="en-US" baseline="30000" dirty="0" smtClean="0"/>
            <a:t>st</a:t>
          </a:r>
          <a:r>
            <a:rPr lang="en-US" dirty="0" smtClean="0"/>
            <a:t> Gen)</a:t>
          </a:r>
          <a:endParaRPr lang="en-US" dirty="0"/>
        </a:p>
      </dgm:t>
    </dgm:pt>
    <dgm:pt modelId="{00FE8E56-E7E2-4979-8A84-F6AD8A94AAFF}" type="parTrans" cxnId="{9204C527-EABB-4723-B8FC-70821A3A1AE5}">
      <dgm:prSet/>
      <dgm:spPr/>
      <dgm:t>
        <a:bodyPr/>
        <a:lstStyle/>
        <a:p>
          <a:endParaRPr lang="en-US"/>
        </a:p>
      </dgm:t>
    </dgm:pt>
    <dgm:pt modelId="{163B9E28-0CFF-41F2-9299-3FB2756A0246}" type="sibTrans" cxnId="{9204C527-EABB-4723-B8FC-70821A3A1AE5}">
      <dgm:prSet/>
      <dgm:spPr/>
      <dgm:t>
        <a:bodyPr/>
        <a:lstStyle/>
        <a:p>
          <a:endParaRPr lang="en-US"/>
        </a:p>
      </dgm:t>
    </dgm:pt>
    <dgm:pt modelId="{356FB39A-E5BB-4CF2-9917-2B28AC7C2D32}">
      <dgm:prSet phldrT="[Text]"/>
      <dgm:spPr/>
      <dgm:t>
        <a:bodyPr/>
        <a:lstStyle/>
        <a:p>
          <a:r>
            <a:rPr lang="en-US" dirty="0" smtClean="0"/>
            <a:t>Cellulosic feedstock (2</a:t>
          </a:r>
          <a:r>
            <a:rPr lang="en-US" baseline="30000" dirty="0" smtClean="0"/>
            <a:t>nd</a:t>
          </a:r>
          <a:r>
            <a:rPr lang="en-US" dirty="0" smtClean="0"/>
            <a:t> Gen)</a:t>
          </a:r>
          <a:endParaRPr lang="en-US" dirty="0"/>
        </a:p>
      </dgm:t>
    </dgm:pt>
    <dgm:pt modelId="{E06B25CF-6A19-48C0-81A7-87E0D83AB6E3}" type="parTrans" cxnId="{D1F452F2-0941-47AF-AB9D-BE663FBC1A5F}">
      <dgm:prSet/>
      <dgm:spPr/>
      <dgm:t>
        <a:bodyPr/>
        <a:lstStyle/>
        <a:p>
          <a:endParaRPr lang="en-US"/>
        </a:p>
      </dgm:t>
    </dgm:pt>
    <dgm:pt modelId="{FA291A63-A89A-42D0-8A24-511BAA0BCB96}" type="sibTrans" cxnId="{D1F452F2-0941-47AF-AB9D-BE663FBC1A5F}">
      <dgm:prSet/>
      <dgm:spPr/>
      <dgm:t>
        <a:bodyPr/>
        <a:lstStyle/>
        <a:p>
          <a:endParaRPr lang="en-US"/>
        </a:p>
      </dgm:t>
    </dgm:pt>
    <dgm:pt modelId="{4FB8B441-C2E1-4C00-98C3-48E913375140}">
      <dgm:prSet phldrT="[Text]"/>
      <dgm:spPr/>
      <dgm:t>
        <a:bodyPr/>
        <a:lstStyle/>
        <a:p>
          <a:r>
            <a:rPr lang="en-US" dirty="0" smtClean="0"/>
            <a:t>Offshore</a:t>
          </a:r>
          <a:endParaRPr lang="en-US" dirty="0"/>
        </a:p>
      </dgm:t>
    </dgm:pt>
    <dgm:pt modelId="{66C4CFBB-D5F7-4C78-9A88-2000DD1CC221}" type="parTrans" cxnId="{35881FF8-45E6-4565-82FB-80F3C7CD80F4}">
      <dgm:prSet/>
      <dgm:spPr/>
      <dgm:t>
        <a:bodyPr/>
        <a:lstStyle/>
        <a:p>
          <a:endParaRPr lang="en-US"/>
        </a:p>
      </dgm:t>
    </dgm:pt>
    <dgm:pt modelId="{1F7F3915-7E69-44C1-90B8-C70A54AE337B}" type="sibTrans" cxnId="{35881FF8-45E6-4565-82FB-80F3C7CD80F4}">
      <dgm:prSet/>
      <dgm:spPr/>
      <dgm:t>
        <a:bodyPr/>
        <a:lstStyle/>
        <a:p>
          <a:endParaRPr lang="en-US"/>
        </a:p>
      </dgm:t>
    </dgm:pt>
    <dgm:pt modelId="{185EDF30-B46A-44A7-9C4A-322343A1D5E5}">
      <dgm:prSet phldrT="[Text]"/>
      <dgm:spPr/>
      <dgm:t>
        <a:bodyPr/>
        <a:lstStyle/>
        <a:p>
          <a:r>
            <a:rPr lang="en-US" dirty="0" smtClean="0"/>
            <a:t>New feedstock such as Algae (3</a:t>
          </a:r>
          <a:r>
            <a:rPr lang="en-US" baseline="30000" dirty="0" smtClean="0"/>
            <a:t>rd</a:t>
          </a:r>
          <a:r>
            <a:rPr lang="en-US" dirty="0" smtClean="0"/>
            <a:t> Gen)</a:t>
          </a:r>
          <a:endParaRPr lang="en-US" dirty="0"/>
        </a:p>
      </dgm:t>
    </dgm:pt>
    <dgm:pt modelId="{B52A5340-F578-4050-AA53-B93C6F18C6D6}" type="parTrans" cxnId="{08014E67-4778-4033-80CC-9B7233254B43}">
      <dgm:prSet/>
      <dgm:spPr/>
      <dgm:t>
        <a:bodyPr/>
        <a:lstStyle/>
        <a:p>
          <a:endParaRPr lang="en-US"/>
        </a:p>
      </dgm:t>
    </dgm:pt>
    <dgm:pt modelId="{B897DD53-C5F6-42EE-8657-D61B03BD037E}" type="sibTrans" cxnId="{08014E67-4778-4033-80CC-9B7233254B43}">
      <dgm:prSet/>
      <dgm:spPr/>
      <dgm:t>
        <a:bodyPr/>
        <a:lstStyle/>
        <a:p>
          <a:endParaRPr lang="en-US"/>
        </a:p>
      </dgm:t>
    </dgm:pt>
    <dgm:pt modelId="{EA2D3819-375E-420D-BD38-FAB0539080DD}">
      <dgm:prSet phldrT="[Text]"/>
      <dgm:spPr/>
      <dgm:t>
        <a:bodyPr/>
        <a:lstStyle/>
        <a:p>
          <a:r>
            <a:rPr lang="en-US" dirty="0" smtClean="0"/>
            <a:t>Hydro Power</a:t>
          </a:r>
          <a:endParaRPr lang="en-US" dirty="0"/>
        </a:p>
      </dgm:t>
    </dgm:pt>
    <dgm:pt modelId="{B3C54D1E-4D55-4D4F-90DA-CE8E58AFD134}" type="parTrans" cxnId="{F716FBF8-12B7-4431-A967-FE0C31797419}">
      <dgm:prSet/>
      <dgm:spPr/>
      <dgm:t>
        <a:bodyPr/>
        <a:lstStyle/>
        <a:p>
          <a:endParaRPr lang="en-US"/>
        </a:p>
      </dgm:t>
    </dgm:pt>
    <dgm:pt modelId="{7D55903F-1D4F-4078-82F2-08C6F609EA4E}" type="sibTrans" cxnId="{F716FBF8-12B7-4431-A967-FE0C31797419}">
      <dgm:prSet/>
      <dgm:spPr/>
      <dgm:t>
        <a:bodyPr/>
        <a:lstStyle/>
        <a:p>
          <a:endParaRPr lang="en-US"/>
        </a:p>
      </dgm:t>
    </dgm:pt>
    <dgm:pt modelId="{000D5CCE-AD92-45DC-B987-00A2C893910C}" type="pres">
      <dgm:prSet presAssocID="{42DAC707-7F92-474F-9DBE-A2078EE08CAD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3DDC883-ABAF-4ECB-8243-9F8EC7F47D01}" type="pres">
      <dgm:prSet presAssocID="{F9B73D41-F6F7-4C69-B9B1-28BAD2A29C07}" presName="comp" presStyleCnt="0"/>
      <dgm:spPr/>
    </dgm:pt>
    <dgm:pt modelId="{AECBC326-AA71-481A-B5AA-4D5AB6E9FAED}" type="pres">
      <dgm:prSet presAssocID="{F9B73D41-F6F7-4C69-B9B1-28BAD2A29C07}" presName="box" presStyleLbl="node1" presStyleIdx="0" presStyleCnt="4"/>
      <dgm:spPr/>
      <dgm:t>
        <a:bodyPr/>
        <a:lstStyle/>
        <a:p>
          <a:endParaRPr lang="en-US"/>
        </a:p>
      </dgm:t>
    </dgm:pt>
    <dgm:pt modelId="{AC35DADA-A0C9-4248-80D0-5099B7421D54}" type="pres">
      <dgm:prSet presAssocID="{F9B73D41-F6F7-4C69-B9B1-28BAD2A29C07}" presName="img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t>
        <a:bodyPr/>
        <a:lstStyle/>
        <a:p>
          <a:endParaRPr lang="en-US"/>
        </a:p>
      </dgm:t>
    </dgm:pt>
    <dgm:pt modelId="{C4902D37-EB61-431A-B1DA-A628FE5C85D6}" type="pres">
      <dgm:prSet presAssocID="{F9B73D41-F6F7-4C69-B9B1-28BAD2A29C07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5146F1-71A8-466F-9383-8C22C198EDE2}" type="pres">
      <dgm:prSet presAssocID="{824EBF83-453D-4581-936A-375E95AF3FC7}" presName="spacer" presStyleCnt="0"/>
      <dgm:spPr/>
    </dgm:pt>
    <dgm:pt modelId="{21175E67-902C-4D80-BF3F-59C6EBBFA2BD}" type="pres">
      <dgm:prSet presAssocID="{13E10CC6-7644-49EA-93DE-98167FACF31A}" presName="comp" presStyleCnt="0"/>
      <dgm:spPr/>
    </dgm:pt>
    <dgm:pt modelId="{BF8FDD02-3EBC-4196-836B-441149BBE43F}" type="pres">
      <dgm:prSet presAssocID="{13E10CC6-7644-49EA-93DE-98167FACF31A}" presName="box" presStyleLbl="node1" presStyleIdx="1" presStyleCnt="4"/>
      <dgm:spPr/>
      <dgm:t>
        <a:bodyPr/>
        <a:lstStyle/>
        <a:p>
          <a:endParaRPr lang="en-US"/>
        </a:p>
      </dgm:t>
    </dgm:pt>
    <dgm:pt modelId="{403CDB4E-EF7E-4346-86A8-28FCCC420AFD}" type="pres">
      <dgm:prSet presAssocID="{13E10CC6-7644-49EA-93DE-98167FACF31A}" presName="img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3000" b="-23000"/>
          </a:stretch>
        </a:blipFill>
      </dgm:spPr>
      <dgm:t>
        <a:bodyPr/>
        <a:lstStyle/>
        <a:p>
          <a:endParaRPr lang="en-US"/>
        </a:p>
      </dgm:t>
    </dgm:pt>
    <dgm:pt modelId="{2E154E07-969A-4DC2-972B-B1ED86A09A14}" type="pres">
      <dgm:prSet presAssocID="{13E10CC6-7644-49EA-93DE-98167FACF31A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7B752C-B873-4CB4-9B18-EB87902B8F46}" type="pres">
      <dgm:prSet presAssocID="{B49E8D7F-0CCE-4798-84DC-2CB593F81AFE}" presName="spacer" presStyleCnt="0"/>
      <dgm:spPr/>
    </dgm:pt>
    <dgm:pt modelId="{E8A93C8B-C508-4AA2-9645-F70DAB4514BC}" type="pres">
      <dgm:prSet presAssocID="{9069A590-7AEC-44E7-960C-87D60DD63C6C}" presName="comp" presStyleCnt="0"/>
      <dgm:spPr/>
    </dgm:pt>
    <dgm:pt modelId="{C95D11C2-A7C9-4215-A642-2EA9B92E5CBD}" type="pres">
      <dgm:prSet presAssocID="{9069A590-7AEC-44E7-960C-87D60DD63C6C}" presName="box" presStyleLbl="node1" presStyleIdx="2" presStyleCnt="4"/>
      <dgm:spPr/>
      <dgm:t>
        <a:bodyPr/>
        <a:lstStyle/>
        <a:p>
          <a:endParaRPr lang="en-US"/>
        </a:p>
      </dgm:t>
    </dgm:pt>
    <dgm:pt modelId="{32C2FD02-BD5F-4102-AA05-9B0506906D6E}" type="pres">
      <dgm:prSet presAssocID="{9069A590-7AEC-44E7-960C-87D60DD63C6C}" presName="img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t>
        <a:bodyPr/>
        <a:lstStyle/>
        <a:p>
          <a:endParaRPr lang="en-US"/>
        </a:p>
      </dgm:t>
    </dgm:pt>
    <dgm:pt modelId="{45370D42-8951-48CE-A646-DB67F15B99D9}" type="pres">
      <dgm:prSet presAssocID="{9069A590-7AEC-44E7-960C-87D60DD63C6C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1D4008-1C94-4CCF-B7F9-C67F8D2198A2}" type="pres">
      <dgm:prSet presAssocID="{65A9D24A-8F42-4DBE-A33A-3C656396F5C5}" presName="spacer" presStyleCnt="0"/>
      <dgm:spPr/>
    </dgm:pt>
    <dgm:pt modelId="{29EFEA86-92B5-455B-A403-DD07CEFEC22C}" type="pres">
      <dgm:prSet presAssocID="{EA2D3819-375E-420D-BD38-FAB0539080DD}" presName="comp" presStyleCnt="0"/>
      <dgm:spPr/>
    </dgm:pt>
    <dgm:pt modelId="{E7481D96-17AB-488D-B691-740B677D6AB4}" type="pres">
      <dgm:prSet presAssocID="{EA2D3819-375E-420D-BD38-FAB0539080DD}" presName="box" presStyleLbl="node1" presStyleIdx="3" presStyleCnt="4"/>
      <dgm:spPr/>
      <dgm:t>
        <a:bodyPr/>
        <a:lstStyle/>
        <a:p>
          <a:endParaRPr lang="en-US"/>
        </a:p>
      </dgm:t>
    </dgm:pt>
    <dgm:pt modelId="{2110E8BC-D18E-4BFA-98AE-47D5EA325EA5}" type="pres">
      <dgm:prSet presAssocID="{EA2D3819-375E-420D-BD38-FAB0539080DD}" presName="img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5000" b="-35000"/>
          </a:stretch>
        </a:blipFill>
      </dgm:spPr>
      <dgm:t>
        <a:bodyPr/>
        <a:lstStyle/>
        <a:p>
          <a:endParaRPr lang="en-US"/>
        </a:p>
      </dgm:t>
    </dgm:pt>
    <dgm:pt modelId="{3680EF1F-5686-4EE3-8009-857B70D25486}" type="pres">
      <dgm:prSet presAssocID="{EA2D3819-375E-420D-BD38-FAB0539080DD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A037FDB-69F3-425B-9A31-EDAA77EA7FCC}" type="presOf" srcId="{7BF84405-DE88-4638-9D43-E98A7DBECAE2}" destId="{2E154E07-969A-4DC2-972B-B1ED86A09A14}" srcOrd="1" destOrd="1" presId="urn:microsoft.com/office/officeart/2005/8/layout/vList4"/>
    <dgm:cxn modelId="{7CDBF3A4-29EE-469E-957D-7B7DF8F51273}" type="presOf" srcId="{9069A590-7AEC-44E7-960C-87D60DD63C6C}" destId="{C95D11C2-A7C9-4215-A642-2EA9B92E5CBD}" srcOrd="0" destOrd="0" presId="urn:microsoft.com/office/officeart/2005/8/layout/vList4"/>
    <dgm:cxn modelId="{09A36E9C-5D15-4A8D-A528-18E8EFFBCFA4}" type="presOf" srcId="{4FB8B441-C2E1-4C00-98C3-48E913375140}" destId="{BF8FDD02-3EBC-4196-836B-441149BBE43F}" srcOrd="0" destOrd="2" presId="urn:microsoft.com/office/officeart/2005/8/layout/vList4"/>
    <dgm:cxn modelId="{92E07F1D-67C3-4651-8E32-826C9417C3A2}" type="presOf" srcId="{18815CF3-013C-43AB-866C-5D3F1392407D}" destId="{45370D42-8951-48CE-A646-DB67F15B99D9}" srcOrd="1" destOrd="1" presId="urn:microsoft.com/office/officeart/2005/8/layout/vList4"/>
    <dgm:cxn modelId="{F215E082-2339-403A-9189-67A366D1259A}" type="presOf" srcId="{13E10CC6-7644-49EA-93DE-98167FACF31A}" destId="{BF8FDD02-3EBC-4196-836B-441149BBE43F}" srcOrd="0" destOrd="0" presId="urn:microsoft.com/office/officeart/2005/8/layout/vList4"/>
    <dgm:cxn modelId="{D1F452F2-0941-47AF-AB9D-BE663FBC1A5F}" srcId="{9069A590-7AEC-44E7-960C-87D60DD63C6C}" destId="{356FB39A-E5BB-4CF2-9917-2B28AC7C2D32}" srcOrd="1" destOrd="0" parTransId="{E06B25CF-6A19-48C0-81A7-87E0D83AB6E3}" sibTransId="{FA291A63-A89A-42D0-8A24-511BAA0BCB96}"/>
    <dgm:cxn modelId="{3765EE82-479D-4DC7-A0BE-37FA4C48F99C}" type="presOf" srcId="{D6A3D80D-8A07-408A-A456-1E552A675A7C}" destId="{C4902D37-EB61-431A-B1DA-A628FE5C85D6}" srcOrd="1" destOrd="1" presId="urn:microsoft.com/office/officeart/2005/8/layout/vList4"/>
    <dgm:cxn modelId="{59F35651-A480-491D-8D5E-66E22A99CACD}" type="presOf" srcId="{42DAC707-7F92-474F-9DBE-A2078EE08CAD}" destId="{000D5CCE-AD92-45DC-B987-00A2C893910C}" srcOrd="0" destOrd="0" presId="urn:microsoft.com/office/officeart/2005/8/layout/vList4"/>
    <dgm:cxn modelId="{F716FBF8-12B7-4431-A967-FE0C31797419}" srcId="{42DAC707-7F92-474F-9DBE-A2078EE08CAD}" destId="{EA2D3819-375E-420D-BD38-FAB0539080DD}" srcOrd="3" destOrd="0" parTransId="{B3C54D1E-4D55-4D4F-90DA-CE8E58AFD134}" sibTransId="{7D55903F-1D4F-4078-82F2-08C6F609EA4E}"/>
    <dgm:cxn modelId="{950584A7-B32D-49AC-8E56-413AC67BB0EF}" type="presOf" srcId="{185EDF30-B46A-44A7-9C4A-322343A1D5E5}" destId="{C95D11C2-A7C9-4215-A642-2EA9B92E5CBD}" srcOrd="0" destOrd="3" presId="urn:microsoft.com/office/officeart/2005/8/layout/vList4"/>
    <dgm:cxn modelId="{08014E67-4778-4033-80CC-9B7233254B43}" srcId="{9069A590-7AEC-44E7-960C-87D60DD63C6C}" destId="{185EDF30-B46A-44A7-9C4A-322343A1D5E5}" srcOrd="2" destOrd="0" parTransId="{B52A5340-F578-4050-AA53-B93C6F18C6D6}" sibTransId="{B897DD53-C5F6-42EE-8657-D61B03BD037E}"/>
    <dgm:cxn modelId="{9204C527-EABB-4723-B8FC-70821A3A1AE5}" srcId="{9069A590-7AEC-44E7-960C-87D60DD63C6C}" destId="{18815CF3-013C-43AB-866C-5D3F1392407D}" srcOrd="0" destOrd="0" parTransId="{00FE8E56-E7E2-4979-8A84-F6AD8A94AAFF}" sibTransId="{163B9E28-0CFF-41F2-9299-3FB2756A0246}"/>
    <dgm:cxn modelId="{35881FF8-45E6-4565-82FB-80F3C7CD80F4}" srcId="{13E10CC6-7644-49EA-93DE-98167FACF31A}" destId="{4FB8B441-C2E1-4C00-98C3-48E913375140}" srcOrd="1" destOrd="0" parTransId="{66C4CFBB-D5F7-4C78-9A88-2000DD1CC221}" sibTransId="{1F7F3915-7E69-44C1-90B8-C70A54AE337B}"/>
    <dgm:cxn modelId="{B02B784A-9744-4CC0-8122-4989CA3E7AE8}" type="presOf" srcId="{4FB8B441-C2E1-4C00-98C3-48E913375140}" destId="{2E154E07-969A-4DC2-972B-B1ED86A09A14}" srcOrd="1" destOrd="2" presId="urn:microsoft.com/office/officeart/2005/8/layout/vList4"/>
    <dgm:cxn modelId="{430438FA-8F63-453B-8401-FA845C617A22}" type="presOf" srcId="{6AF5796F-517A-4994-A332-20A7AC01DDAF}" destId="{C4902D37-EB61-431A-B1DA-A628FE5C85D6}" srcOrd="1" destOrd="2" presId="urn:microsoft.com/office/officeart/2005/8/layout/vList4"/>
    <dgm:cxn modelId="{524C13BF-0305-4A8A-A617-4F9D0159A168}" type="presOf" srcId="{6AF5796F-517A-4994-A332-20A7AC01DDAF}" destId="{AECBC326-AA71-481A-B5AA-4D5AB6E9FAED}" srcOrd="0" destOrd="2" presId="urn:microsoft.com/office/officeart/2005/8/layout/vList4"/>
    <dgm:cxn modelId="{F379E431-25BB-4928-8677-5C05FC373CF3}" srcId="{F9B73D41-F6F7-4C69-B9B1-28BAD2A29C07}" destId="{D6A3D80D-8A07-408A-A456-1E552A675A7C}" srcOrd="0" destOrd="0" parTransId="{BDBAC132-711D-44F9-9C6C-9909F7234FA5}" sibTransId="{90BFCE97-918E-4A98-8437-F41870F2CFA0}"/>
    <dgm:cxn modelId="{65487A8B-AC0C-4A93-8099-9332B49D7CD2}" srcId="{F9B73D41-F6F7-4C69-B9B1-28BAD2A29C07}" destId="{6AF5796F-517A-4994-A332-20A7AC01DDAF}" srcOrd="1" destOrd="0" parTransId="{DBEE4EB1-5400-4B3A-A454-DAD6CEA9C143}" sibTransId="{1345582D-BA42-45D2-B4D8-B4F765EA5473}"/>
    <dgm:cxn modelId="{DA4D2031-A103-4F4C-B34E-9DC2CC8FB145}" type="presOf" srcId="{D6A3D80D-8A07-408A-A456-1E552A675A7C}" destId="{AECBC326-AA71-481A-B5AA-4D5AB6E9FAED}" srcOrd="0" destOrd="1" presId="urn:microsoft.com/office/officeart/2005/8/layout/vList4"/>
    <dgm:cxn modelId="{D4E90B7A-7BB2-4521-8DC4-9DF8B8C3286C}" type="presOf" srcId="{9069A590-7AEC-44E7-960C-87D60DD63C6C}" destId="{45370D42-8951-48CE-A646-DB67F15B99D9}" srcOrd="1" destOrd="0" presId="urn:microsoft.com/office/officeart/2005/8/layout/vList4"/>
    <dgm:cxn modelId="{9BE4009E-275F-4E09-9A5D-198AB4A6F41F}" type="presOf" srcId="{7BF84405-DE88-4638-9D43-E98A7DBECAE2}" destId="{BF8FDD02-3EBC-4196-836B-441149BBE43F}" srcOrd="0" destOrd="1" presId="urn:microsoft.com/office/officeart/2005/8/layout/vList4"/>
    <dgm:cxn modelId="{2F4ABDBA-94E3-45AF-9897-BC28884BE9CF}" type="presOf" srcId="{EA2D3819-375E-420D-BD38-FAB0539080DD}" destId="{3680EF1F-5686-4EE3-8009-857B70D25486}" srcOrd="1" destOrd="0" presId="urn:microsoft.com/office/officeart/2005/8/layout/vList4"/>
    <dgm:cxn modelId="{ADCAEBF7-E01F-42CA-ACB1-341AFDA9593B}" srcId="{42DAC707-7F92-474F-9DBE-A2078EE08CAD}" destId="{F9B73D41-F6F7-4C69-B9B1-28BAD2A29C07}" srcOrd="0" destOrd="0" parTransId="{14C4D4F6-932C-4A19-96D0-11B19328A95F}" sibTransId="{824EBF83-453D-4581-936A-375E95AF3FC7}"/>
    <dgm:cxn modelId="{2F087D12-3A59-4011-BDFD-43708032588B}" type="presOf" srcId="{F9B73D41-F6F7-4C69-B9B1-28BAD2A29C07}" destId="{C4902D37-EB61-431A-B1DA-A628FE5C85D6}" srcOrd="1" destOrd="0" presId="urn:microsoft.com/office/officeart/2005/8/layout/vList4"/>
    <dgm:cxn modelId="{A968E600-6006-416A-8507-67709C80402A}" type="presOf" srcId="{18815CF3-013C-43AB-866C-5D3F1392407D}" destId="{C95D11C2-A7C9-4215-A642-2EA9B92E5CBD}" srcOrd="0" destOrd="1" presId="urn:microsoft.com/office/officeart/2005/8/layout/vList4"/>
    <dgm:cxn modelId="{A3EFA6D7-B527-4E0D-B135-2DB846303F29}" type="presOf" srcId="{13E10CC6-7644-49EA-93DE-98167FACF31A}" destId="{2E154E07-969A-4DC2-972B-B1ED86A09A14}" srcOrd="1" destOrd="0" presId="urn:microsoft.com/office/officeart/2005/8/layout/vList4"/>
    <dgm:cxn modelId="{EAE49D45-A067-4A13-BB70-D76C69CF1252}" srcId="{42DAC707-7F92-474F-9DBE-A2078EE08CAD}" destId="{13E10CC6-7644-49EA-93DE-98167FACF31A}" srcOrd="1" destOrd="0" parTransId="{7E0997FE-A47C-4BF0-A7A6-B948E7A1DACC}" sibTransId="{B49E8D7F-0CCE-4798-84DC-2CB593F81AFE}"/>
    <dgm:cxn modelId="{F727A9DF-8D34-4F10-BD8E-3AD01D9A98E6}" type="presOf" srcId="{F9B73D41-F6F7-4C69-B9B1-28BAD2A29C07}" destId="{AECBC326-AA71-481A-B5AA-4D5AB6E9FAED}" srcOrd="0" destOrd="0" presId="urn:microsoft.com/office/officeart/2005/8/layout/vList4"/>
    <dgm:cxn modelId="{4839C79B-AB72-49F4-9A71-E4FB42119453}" type="presOf" srcId="{185EDF30-B46A-44A7-9C4A-322343A1D5E5}" destId="{45370D42-8951-48CE-A646-DB67F15B99D9}" srcOrd="1" destOrd="3" presId="urn:microsoft.com/office/officeart/2005/8/layout/vList4"/>
    <dgm:cxn modelId="{ED702BB5-C38A-48ED-A104-CF79CEB65CC8}" srcId="{13E10CC6-7644-49EA-93DE-98167FACF31A}" destId="{7BF84405-DE88-4638-9D43-E98A7DBECAE2}" srcOrd="0" destOrd="0" parTransId="{E3EC53C5-EF40-4DD3-982D-A6FD89EB2657}" sibTransId="{9F2E1BFC-213B-45CA-B832-C6029A14753C}"/>
    <dgm:cxn modelId="{73166D04-71D8-4DF3-B23D-DFB5631743A0}" type="presOf" srcId="{EA2D3819-375E-420D-BD38-FAB0539080DD}" destId="{E7481D96-17AB-488D-B691-740B677D6AB4}" srcOrd="0" destOrd="0" presId="urn:microsoft.com/office/officeart/2005/8/layout/vList4"/>
    <dgm:cxn modelId="{F86AD921-B885-4499-9049-A277527ED5CB}" type="presOf" srcId="{356FB39A-E5BB-4CF2-9917-2B28AC7C2D32}" destId="{45370D42-8951-48CE-A646-DB67F15B99D9}" srcOrd="1" destOrd="2" presId="urn:microsoft.com/office/officeart/2005/8/layout/vList4"/>
    <dgm:cxn modelId="{A316A1EF-17CC-4BA7-836F-5B326301C552}" type="presOf" srcId="{356FB39A-E5BB-4CF2-9917-2B28AC7C2D32}" destId="{C95D11C2-A7C9-4215-A642-2EA9B92E5CBD}" srcOrd="0" destOrd="2" presId="urn:microsoft.com/office/officeart/2005/8/layout/vList4"/>
    <dgm:cxn modelId="{F90A8C61-8CFF-4745-B9F4-2FFFE9F5BE6B}" srcId="{42DAC707-7F92-474F-9DBE-A2078EE08CAD}" destId="{9069A590-7AEC-44E7-960C-87D60DD63C6C}" srcOrd="2" destOrd="0" parTransId="{CEB6950E-6751-40D5-9780-CC15F7A8E166}" sibTransId="{65A9D24A-8F42-4DBE-A33A-3C656396F5C5}"/>
    <dgm:cxn modelId="{C3CB432E-4357-4178-9506-ADE445BCBCA7}" type="presParOf" srcId="{000D5CCE-AD92-45DC-B987-00A2C893910C}" destId="{53DDC883-ABAF-4ECB-8243-9F8EC7F47D01}" srcOrd="0" destOrd="0" presId="urn:microsoft.com/office/officeart/2005/8/layout/vList4"/>
    <dgm:cxn modelId="{1A54CC3E-50E8-4359-A592-EE30F249BEF1}" type="presParOf" srcId="{53DDC883-ABAF-4ECB-8243-9F8EC7F47D01}" destId="{AECBC326-AA71-481A-B5AA-4D5AB6E9FAED}" srcOrd="0" destOrd="0" presId="urn:microsoft.com/office/officeart/2005/8/layout/vList4"/>
    <dgm:cxn modelId="{3556A061-387F-4A36-9042-303E1343DCA6}" type="presParOf" srcId="{53DDC883-ABAF-4ECB-8243-9F8EC7F47D01}" destId="{AC35DADA-A0C9-4248-80D0-5099B7421D54}" srcOrd="1" destOrd="0" presId="urn:microsoft.com/office/officeart/2005/8/layout/vList4"/>
    <dgm:cxn modelId="{98184E88-CCB3-4385-B8C4-BFBFEF73D644}" type="presParOf" srcId="{53DDC883-ABAF-4ECB-8243-9F8EC7F47D01}" destId="{C4902D37-EB61-431A-B1DA-A628FE5C85D6}" srcOrd="2" destOrd="0" presId="urn:microsoft.com/office/officeart/2005/8/layout/vList4"/>
    <dgm:cxn modelId="{8FEA370D-AFB5-4242-95FB-D722F76EAC3F}" type="presParOf" srcId="{000D5CCE-AD92-45DC-B987-00A2C893910C}" destId="{025146F1-71A8-466F-9383-8C22C198EDE2}" srcOrd="1" destOrd="0" presId="urn:microsoft.com/office/officeart/2005/8/layout/vList4"/>
    <dgm:cxn modelId="{DF973143-0E3B-4907-B2D5-460F400034BD}" type="presParOf" srcId="{000D5CCE-AD92-45DC-B987-00A2C893910C}" destId="{21175E67-902C-4D80-BF3F-59C6EBBFA2BD}" srcOrd="2" destOrd="0" presId="urn:microsoft.com/office/officeart/2005/8/layout/vList4"/>
    <dgm:cxn modelId="{C5092AD8-DF4D-4E54-9F4B-9746329860F3}" type="presParOf" srcId="{21175E67-902C-4D80-BF3F-59C6EBBFA2BD}" destId="{BF8FDD02-3EBC-4196-836B-441149BBE43F}" srcOrd="0" destOrd="0" presId="urn:microsoft.com/office/officeart/2005/8/layout/vList4"/>
    <dgm:cxn modelId="{0DFD0534-52ED-44A9-9324-5DF3C2669AF1}" type="presParOf" srcId="{21175E67-902C-4D80-BF3F-59C6EBBFA2BD}" destId="{403CDB4E-EF7E-4346-86A8-28FCCC420AFD}" srcOrd="1" destOrd="0" presId="urn:microsoft.com/office/officeart/2005/8/layout/vList4"/>
    <dgm:cxn modelId="{234074DE-3A69-4F2E-BD25-90E3B093EBF5}" type="presParOf" srcId="{21175E67-902C-4D80-BF3F-59C6EBBFA2BD}" destId="{2E154E07-969A-4DC2-972B-B1ED86A09A14}" srcOrd="2" destOrd="0" presId="urn:microsoft.com/office/officeart/2005/8/layout/vList4"/>
    <dgm:cxn modelId="{23688281-9713-4232-BC1A-DE12D41DAA5A}" type="presParOf" srcId="{000D5CCE-AD92-45DC-B987-00A2C893910C}" destId="{C47B752C-B873-4CB4-9B18-EB87902B8F46}" srcOrd="3" destOrd="0" presId="urn:microsoft.com/office/officeart/2005/8/layout/vList4"/>
    <dgm:cxn modelId="{98E3A023-7142-41B4-858C-421744E94169}" type="presParOf" srcId="{000D5CCE-AD92-45DC-B987-00A2C893910C}" destId="{E8A93C8B-C508-4AA2-9645-F70DAB4514BC}" srcOrd="4" destOrd="0" presId="urn:microsoft.com/office/officeart/2005/8/layout/vList4"/>
    <dgm:cxn modelId="{732E24CD-6744-492A-A213-C92C5EDF2B0D}" type="presParOf" srcId="{E8A93C8B-C508-4AA2-9645-F70DAB4514BC}" destId="{C95D11C2-A7C9-4215-A642-2EA9B92E5CBD}" srcOrd="0" destOrd="0" presId="urn:microsoft.com/office/officeart/2005/8/layout/vList4"/>
    <dgm:cxn modelId="{5BF643F8-D4FA-4E68-B1D0-E06BBB41F6BD}" type="presParOf" srcId="{E8A93C8B-C508-4AA2-9645-F70DAB4514BC}" destId="{32C2FD02-BD5F-4102-AA05-9B0506906D6E}" srcOrd="1" destOrd="0" presId="urn:microsoft.com/office/officeart/2005/8/layout/vList4"/>
    <dgm:cxn modelId="{F778EF42-197F-41E2-B18B-6C1268BDA0C6}" type="presParOf" srcId="{E8A93C8B-C508-4AA2-9645-F70DAB4514BC}" destId="{45370D42-8951-48CE-A646-DB67F15B99D9}" srcOrd="2" destOrd="0" presId="urn:microsoft.com/office/officeart/2005/8/layout/vList4"/>
    <dgm:cxn modelId="{C8BE497E-1113-434D-85B0-8127C0C11CEC}" type="presParOf" srcId="{000D5CCE-AD92-45DC-B987-00A2C893910C}" destId="{FF1D4008-1C94-4CCF-B7F9-C67F8D2198A2}" srcOrd="5" destOrd="0" presId="urn:microsoft.com/office/officeart/2005/8/layout/vList4"/>
    <dgm:cxn modelId="{0E67EB15-1A8D-4DC5-9911-244496499B82}" type="presParOf" srcId="{000D5CCE-AD92-45DC-B987-00A2C893910C}" destId="{29EFEA86-92B5-455B-A403-DD07CEFEC22C}" srcOrd="6" destOrd="0" presId="urn:microsoft.com/office/officeart/2005/8/layout/vList4"/>
    <dgm:cxn modelId="{6A8AEBA2-F361-48B7-998D-D5967635CDBA}" type="presParOf" srcId="{29EFEA86-92B5-455B-A403-DD07CEFEC22C}" destId="{E7481D96-17AB-488D-B691-740B677D6AB4}" srcOrd="0" destOrd="0" presId="urn:microsoft.com/office/officeart/2005/8/layout/vList4"/>
    <dgm:cxn modelId="{20F80BDB-226B-4A84-9A3F-36A31B9778B9}" type="presParOf" srcId="{29EFEA86-92B5-455B-A403-DD07CEFEC22C}" destId="{2110E8BC-D18E-4BFA-98AE-47D5EA325EA5}" srcOrd="1" destOrd="0" presId="urn:microsoft.com/office/officeart/2005/8/layout/vList4"/>
    <dgm:cxn modelId="{4007CB5A-D792-4840-A80B-2D80BE0AD0C9}" type="presParOf" srcId="{29EFEA86-92B5-455B-A403-DD07CEFEC22C}" destId="{3680EF1F-5686-4EE3-8009-857B70D25486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1CD996-F289-4785-8B80-D15AFF9E9E6B}">
      <dsp:nvSpPr>
        <dsp:cNvPr id="0" name=""/>
        <dsp:cNvSpPr/>
      </dsp:nvSpPr>
      <dsp:spPr>
        <a:xfrm>
          <a:off x="1557" y="638"/>
          <a:ext cx="1024577" cy="409215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ssociated Equipment/ Technology Suppliers</a:t>
          </a:r>
          <a:endParaRPr lang="en-US" sz="1400" kern="1200" dirty="0"/>
        </a:p>
      </dsp:txBody>
      <dsp:txXfrm>
        <a:off x="31566" y="30647"/>
        <a:ext cx="964559" cy="4032140"/>
      </dsp:txXfrm>
    </dsp:sp>
    <dsp:sp modelId="{FBF15371-A706-49D7-A93F-170D47293347}">
      <dsp:nvSpPr>
        <dsp:cNvPr id="0" name=""/>
        <dsp:cNvSpPr/>
      </dsp:nvSpPr>
      <dsp:spPr>
        <a:xfrm>
          <a:off x="1167157" y="638"/>
          <a:ext cx="6122718" cy="122236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nergy Industry</a:t>
          </a:r>
          <a:endParaRPr lang="en-US" sz="1600" kern="1200" dirty="0"/>
        </a:p>
      </dsp:txBody>
      <dsp:txXfrm>
        <a:off x="1202959" y="36440"/>
        <a:ext cx="6051114" cy="1150764"/>
      </dsp:txXfrm>
    </dsp:sp>
    <dsp:sp modelId="{FA91B1EE-AED5-47B5-B637-4F5C9ECE33FE}">
      <dsp:nvSpPr>
        <dsp:cNvPr id="0" name=""/>
        <dsp:cNvSpPr/>
      </dsp:nvSpPr>
      <dsp:spPr>
        <a:xfrm>
          <a:off x="1167157" y="1444631"/>
          <a:ext cx="1714092" cy="122236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Non-Renewable</a:t>
          </a:r>
          <a:endParaRPr lang="en-US" sz="1400" kern="1200" dirty="0"/>
        </a:p>
      </dsp:txBody>
      <dsp:txXfrm>
        <a:off x="1202959" y="1480433"/>
        <a:ext cx="1642488" cy="1150764"/>
      </dsp:txXfrm>
    </dsp:sp>
    <dsp:sp modelId="{E402C7E3-4043-4EED-B7E6-64A81C71202D}">
      <dsp:nvSpPr>
        <dsp:cNvPr id="0" name=""/>
        <dsp:cNvSpPr/>
      </dsp:nvSpPr>
      <dsp:spPr>
        <a:xfrm>
          <a:off x="1167157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al</a:t>
          </a:r>
          <a:endParaRPr lang="en-US" sz="1400" kern="1200" dirty="0"/>
        </a:p>
      </dsp:txBody>
      <dsp:txXfrm>
        <a:off x="1191743" y="2917022"/>
        <a:ext cx="790246" cy="1173196"/>
      </dsp:txXfrm>
    </dsp:sp>
    <dsp:sp modelId="{25AD7C27-BD39-468E-BC24-1DDCBB7908A6}">
      <dsp:nvSpPr>
        <dsp:cNvPr id="0" name=""/>
        <dsp:cNvSpPr/>
      </dsp:nvSpPr>
      <dsp:spPr>
        <a:xfrm>
          <a:off x="2041831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il &amp; Gas</a:t>
          </a:r>
          <a:endParaRPr lang="en-US" sz="1400" kern="1200" dirty="0"/>
        </a:p>
      </dsp:txBody>
      <dsp:txXfrm>
        <a:off x="2066417" y="2917022"/>
        <a:ext cx="790246" cy="1173196"/>
      </dsp:txXfrm>
    </dsp:sp>
    <dsp:sp modelId="{E95CCC36-2A4D-470F-9751-82BAFFF7CA84}">
      <dsp:nvSpPr>
        <dsp:cNvPr id="0" name=""/>
        <dsp:cNvSpPr/>
      </dsp:nvSpPr>
      <dsp:spPr>
        <a:xfrm>
          <a:off x="2951761" y="1444631"/>
          <a:ext cx="4338114" cy="122236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enewable Energy</a:t>
          </a:r>
          <a:endParaRPr lang="en-US" sz="1400" kern="1200" dirty="0"/>
        </a:p>
      </dsp:txBody>
      <dsp:txXfrm>
        <a:off x="2987563" y="1480433"/>
        <a:ext cx="4266510" cy="1150764"/>
      </dsp:txXfrm>
    </dsp:sp>
    <dsp:sp modelId="{6D1F7077-EA47-4496-96B7-1743B5C57582}">
      <dsp:nvSpPr>
        <dsp:cNvPr id="0" name=""/>
        <dsp:cNvSpPr/>
      </dsp:nvSpPr>
      <dsp:spPr>
        <a:xfrm>
          <a:off x="2951761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olar</a:t>
          </a:r>
          <a:endParaRPr lang="en-US" sz="1400" kern="1200" dirty="0"/>
        </a:p>
      </dsp:txBody>
      <dsp:txXfrm>
        <a:off x="2976347" y="2917022"/>
        <a:ext cx="790246" cy="1173196"/>
      </dsp:txXfrm>
    </dsp:sp>
    <dsp:sp modelId="{1358CD96-D9FB-4ED9-8DEC-EA1D8CF1DEEA}">
      <dsp:nvSpPr>
        <dsp:cNvPr id="0" name=""/>
        <dsp:cNvSpPr/>
      </dsp:nvSpPr>
      <dsp:spPr>
        <a:xfrm>
          <a:off x="3826435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ind</a:t>
          </a:r>
          <a:endParaRPr lang="en-US" sz="1400" kern="1200" dirty="0"/>
        </a:p>
      </dsp:txBody>
      <dsp:txXfrm>
        <a:off x="3851021" y="2917022"/>
        <a:ext cx="790246" cy="1173196"/>
      </dsp:txXfrm>
    </dsp:sp>
    <dsp:sp modelId="{07DE010B-4DA5-44E7-81B4-7FBB4E7A75D4}">
      <dsp:nvSpPr>
        <dsp:cNvPr id="0" name=""/>
        <dsp:cNvSpPr/>
      </dsp:nvSpPr>
      <dsp:spPr>
        <a:xfrm>
          <a:off x="4701109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io-fuels</a:t>
          </a:r>
          <a:endParaRPr lang="en-US" sz="1400" kern="1200" dirty="0"/>
        </a:p>
      </dsp:txBody>
      <dsp:txXfrm>
        <a:off x="4725695" y="2917022"/>
        <a:ext cx="790246" cy="1173196"/>
      </dsp:txXfrm>
    </dsp:sp>
    <dsp:sp modelId="{31967CD4-B9F8-4269-8BDB-83F7F187CC65}">
      <dsp:nvSpPr>
        <dsp:cNvPr id="0" name=""/>
        <dsp:cNvSpPr/>
      </dsp:nvSpPr>
      <dsp:spPr>
        <a:xfrm>
          <a:off x="5575783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ydro </a:t>
          </a:r>
          <a:endParaRPr lang="en-US" sz="1400" kern="1200" dirty="0"/>
        </a:p>
      </dsp:txBody>
      <dsp:txXfrm>
        <a:off x="5600369" y="2917022"/>
        <a:ext cx="790246" cy="1173196"/>
      </dsp:txXfrm>
    </dsp:sp>
    <dsp:sp modelId="{2E5D4B5E-44E3-4AD4-954C-099547AF5851}">
      <dsp:nvSpPr>
        <dsp:cNvPr id="0" name=""/>
        <dsp:cNvSpPr/>
      </dsp:nvSpPr>
      <dsp:spPr>
        <a:xfrm>
          <a:off x="6450457" y="2892436"/>
          <a:ext cx="839418" cy="122236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thers (Fuel Cells, Geothermal etc.)</a:t>
          </a:r>
          <a:endParaRPr lang="en-US" sz="1400" kern="1200" dirty="0"/>
        </a:p>
      </dsp:txBody>
      <dsp:txXfrm>
        <a:off x="6475043" y="2917022"/>
        <a:ext cx="790246" cy="1173196"/>
      </dsp:txXfrm>
    </dsp:sp>
    <dsp:sp modelId="{43CD1E0D-A594-421F-AA49-5DC2DFADA380}">
      <dsp:nvSpPr>
        <dsp:cNvPr id="0" name=""/>
        <dsp:cNvSpPr/>
      </dsp:nvSpPr>
      <dsp:spPr>
        <a:xfrm>
          <a:off x="7430898" y="638"/>
          <a:ext cx="1025744" cy="4109931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tilities/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nsumers</a:t>
          </a:r>
          <a:endParaRPr lang="en-US" sz="1400" kern="1200" dirty="0"/>
        </a:p>
      </dsp:txBody>
      <dsp:txXfrm>
        <a:off x="7460941" y="30681"/>
        <a:ext cx="965658" cy="40498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A541CB-0A27-4ACF-B972-29F441F940F7}">
      <dsp:nvSpPr>
        <dsp:cNvPr id="0" name=""/>
        <dsp:cNvSpPr/>
      </dsp:nvSpPr>
      <dsp:spPr>
        <a:xfrm>
          <a:off x="0" y="741184"/>
          <a:ext cx="6172199" cy="898907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254000" bIns="142702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kern="1200" dirty="0" smtClean="0"/>
            <a:t>Ζήτηση</a:t>
          </a:r>
          <a:endParaRPr lang="en-US" sz="1700" kern="1200" dirty="0"/>
        </a:p>
      </dsp:txBody>
      <dsp:txXfrm>
        <a:off x="0" y="965911"/>
        <a:ext cx="5947472" cy="449453"/>
      </dsp:txXfrm>
    </dsp:sp>
    <dsp:sp modelId="{3EA9E320-96C4-49E1-AB06-AE9E9E658F2C}">
      <dsp:nvSpPr>
        <dsp:cNvPr id="0" name=""/>
        <dsp:cNvSpPr/>
      </dsp:nvSpPr>
      <dsp:spPr>
        <a:xfrm>
          <a:off x="0" y="1375132"/>
          <a:ext cx="1901037" cy="2555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Αποδοτικότερες συσκευές  και μικρότερη ζήτηση από τους καταναλωτές</a:t>
          </a:r>
          <a:endParaRPr lang="en-US" sz="1200" kern="1200" dirty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Λάμπες εξοικονόμησης ενέργειας, αποδοτικότερα κλιματιστικά και καταψύκτες κλπ.</a:t>
          </a:r>
          <a:endParaRPr lang="en-US" sz="1200" kern="1200" dirty="0" smtClean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Σχεδόν το 80% των προβλεπόμενων μειώσεων του CO2 έως το 2030 θα προκύψει από την αποτελεσματικότητα της ζήτησης</a:t>
          </a:r>
          <a:endParaRPr lang="en-US" sz="1200" kern="1200" dirty="0" smtClean="0"/>
        </a:p>
      </dsp:txBody>
      <dsp:txXfrm>
        <a:off x="0" y="1375132"/>
        <a:ext cx="1901037" cy="2555361"/>
      </dsp:txXfrm>
    </dsp:sp>
    <dsp:sp modelId="{7491667E-FBE5-487A-81D6-20CC5FAFE69E}">
      <dsp:nvSpPr>
        <dsp:cNvPr id="0" name=""/>
        <dsp:cNvSpPr/>
      </dsp:nvSpPr>
      <dsp:spPr>
        <a:xfrm>
          <a:off x="1901037" y="1040820"/>
          <a:ext cx="4271162" cy="898907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254000" bIns="142702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kern="1200" dirty="0" smtClean="0"/>
            <a:t>Προσφορά </a:t>
          </a:r>
          <a:endParaRPr lang="en-US" sz="1700" kern="1200" dirty="0"/>
        </a:p>
      </dsp:txBody>
      <dsp:txXfrm>
        <a:off x="1901037" y="1265547"/>
        <a:ext cx="4046435" cy="449453"/>
      </dsp:txXfrm>
    </dsp:sp>
    <dsp:sp modelId="{BBB2843D-4E28-467C-809A-77CA9EAB0FC0}">
      <dsp:nvSpPr>
        <dsp:cNvPr id="0" name=""/>
        <dsp:cNvSpPr/>
      </dsp:nvSpPr>
      <dsp:spPr>
        <a:xfrm>
          <a:off x="1901037" y="1619858"/>
          <a:ext cx="1901037" cy="254369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Παραγωγή ενέργειας από καθαρότερες πηγές όπως αιολική, ηλιακή, </a:t>
          </a:r>
          <a:r>
            <a:rPr lang="el-GR" sz="1200" kern="1200" dirty="0" err="1" smtClean="0"/>
            <a:t>βιοκαύσιμα</a:t>
          </a:r>
          <a:r>
            <a:rPr lang="el-GR" sz="1200" kern="1200" dirty="0" smtClean="0"/>
            <a:t>, πυρηνικά κλπ.</a:t>
          </a:r>
          <a:endParaRPr lang="en-US" sz="1200" kern="1200" dirty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Παραγωγή ενέργειας πιο αποτελεσματικά</a:t>
          </a:r>
          <a:endParaRPr lang="en-US" sz="1200" kern="1200" dirty="0" smtClean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Μειώστε τις εκπομπές</a:t>
          </a:r>
          <a:endParaRPr lang="en-US" sz="1200" kern="1200" dirty="0" smtClean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Μειώστε την αποδάσωση</a:t>
          </a:r>
          <a:endParaRPr lang="en-US" sz="1200" kern="1200" dirty="0" smtClean="0"/>
        </a:p>
      </dsp:txBody>
      <dsp:txXfrm>
        <a:off x="1901037" y="1619858"/>
        <a:ext cx="1901037" cy="2543690"/>
      </dsp:txXfrm>
    </dsp:sp>
    <dsp:sp modelId="{3F17D0E7-33BC-4907-96E2-356ACD4BE0B0}">
      <dsp:nvSpPr>
        <dsp:cNvPr id="0" name=""/>
        <dsp:cNvSpPr/>
      </dsp:nvSpPr>
      <dsp:spPr>
        <a:xfrm>
          <a:off x="3802075" y="1340456"/>
          <a:ext cx="2370124" cy="898907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254000" bIns="142702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kern="1200" dirty="0" smtClean="0"/>
            <a:t>Προσαρμογή</a:t>
          </a:r>
          <a:endParaRPr lang="en-US" sz="1700" kern="1200" dirty="0"/>
        </a:p>
      </dsp:txBody>
      <dsp:txXfrm>
        <a:off x="3802075" y="1565183"/>
        <a:ext cx="2145397" cy="449453"/>
      </dsp:txXfrm>
    </dsp:sp>
    <dsp:sp modelId="{03835F55-6D7B-4CA9-B695-EF8A5644FD97}">
      <dsp:nvSpPr>
        <dsp:cNvPr id="0" name=""/>
        <dsp:cNvSpPr/>
      </dsp:nvSpPr>
      <dsp:spPr>
        <a:xfrm>
          <a:off x="3795906" y="1985287"/>
          <a:ext cx="1913375" cy="249765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200" kern="1200" dirty="0" smtClean="0"/>
            <a:t>Μέτρα όπως η ενίσχυση της άμυνας κατά των πλημμυρών ώστε να προσαρμοστούν στις επιπτώσεις της κλιματικής αλλαγής</a:t>
          </a:r>
          <a:endParaRPr lang="en-US" sz="1200" kern="1200" dirty="0"/>
        </a:p>
      </dsp:txBody>
      <dsp:txXfrm>
        <a:off x="3795906" y="1985287"/>
        <a:ext cx="1913375" cy="249765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CBC326-AA71-481A-B5AA-4D5AB6E9FAED}">
      <dsp:nvSpPr>
        <dsp:cNvPr id="0" name=""/>
        <dsp:cNvSpPr/>
      </dsp:nvSpPr>
      <dsp:spPr>
        <a:xfrm>
          <a:off x="0" y="0"/>
          <a:ext cx="8229599" cy="1051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olar Power</a:t>
          </a:r>
          <a:endParaRPr lang="en-US" sz="16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hotovoltaic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Solar-thermal</a:t>
          </a:r>
          <a:endParaRPr lang="en-US" sz="1200" kern="1200" dirty="0"/>
        </a:p>
      </dsp:txBody>
      <dsp:txXfrm>
        <a:off x="1751113" y="0"/>
        <a:ext cx="6478486" cy="1051932"/>
      </dsp:txXfrm>
    </dsp:sp>
    <dsp:sp modelId="{AC35DADA-A0C9-4248-80D0-5099B7421D54}">
      <dsp:nvSpPr>
        <dsp:cNvPr id="0" name=""/>
        <dsp:cNvSpPr/>
      </dsp:nvSpPr>
      <dsp:spPr>
        <a:xfrm>
          <a:off x="105193" y="105193"/>
          <a:ext cx="1645919" cy="84154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FDD02-3EBC-4196-836B-441149BBE43F}">
      <dsp:nvSpPr>
        <dsp:cNvPr id="0" name=""/>
        <dsp:cNvSpPr/>
      </dsp:nvSpPr>
      <dsp:spPr>
        <a:xfrm>
          <a:off x="0" y="1157126"/>
          <a:ext cx="8229599" cy="1051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Wind Power</a:t>
          </a:r>
          <a:endParaRPr lang="en-US" sz="16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Onshor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Offshore</a:t>
          </a:r>
          <a:endParaRPr lang="en-US" sz="1200" kern="1200" dirty="0"/>
        </a:p>
      </dsp:txBody>
      <dsp:txXfrm>
        <a:off x="1751113" y="1157126"/>
        <a:ext cx="6478486" cy="1051932"/>
      </dsp:txXfrm>
    </dsp:sp>
    <dsp:sp modelId="{403CDB4E-EF7E-4346-86A8-28FCCC420AFD}">
      <dsp:nvSpPr>
        <dsp:cNvPr id="0" name=""/>
        <dsp:cNvSpPr/>
      </dsp:nvSpPr>
      <dsp:spPr>
        <a:xfrm>
          <a:off x="105193" y="1262319"/>
          <a:ext cx="1645919" cy="84154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3000" b="-2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5D11C2-A7C9-4215-A642-2EA9B92E5CBD}">
      <dsp:nvSpPr>
        <dsp:cNvPr id="0" name=""/>
        <dsp:cNvSpPr/>
      </dsp:nvSpPr>
      <dsp:spPr>
        <a:xfrm>
          <a:off x="0" y="2314252"/>
          <a:ext cx="8229599" cy="1051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iofuels</a:t>
          </a:r>
          <a:endParaRPr lang="en-US" sz="16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Agricultural crops (1</a:t>
          </a:r>
          <a:r>
            <a:rPr lang="en-US" sz="1200" kern="1200" baseline="30000" dirty="0" smtClean="0"/>
            <a:t>st</a:t>
          </a:r>
          <a:r>
            <a:rPr lang="en-US" sz="1200" kern="1200" dirty="0" smtClean="0"/>
            <a:t> Gen)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ellulosic feedstock (2</a:t>
          </a:r>
          <a:r>
            <a:rPr lang="en-US" sz="1200" kern="1200" baseline="30000" dirty="0" smtClean="0"/>
            <a:t>nd</a:t>
          </a:r>
          <a:r>
            <a:rPr lang="en-US" sz="1200" kern="1200" dirty="0" smtClean="0"/>
            <a:t> Gen)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New feedstock such as Algae (3</a:t>
          </a:r>
          <a:r>
            <a:rPr lang="en-US" sz="1200" kern="1200" baseline="30000" dirty="0" smtClean="0"/>
            <a:t>rd</a:t>
          </a:r>
          <a:r>
            <a:rPr lang="en-US" sz="1200" kern="1200" dirty="0" smtClean="0"/>
            <a:t> Gen)</a:t>
          </a:r>
          <a:endParaRPr lang="en-US" sz="1200" kern="1200" dirty="0"/>
        </a:p>
      </dsp:txBody>
      <dsp:txXfrm>
        <a:off x="1751113" y="2314252"/>
        <a:ext cx="6478486" cy="1051932"/>
      </dsp:txXfrm>
    </dsp:sp>
    <dsp:sp modelId="{32C2FD02-BD5F-4102-AA05-9B0506906D6E}">
      <dsp:nvSpPr>
        <dsp:cNvPr id="0" name=""/>
        <dsp:cNvSpPr/>
      </dsp:nvSpPr>
      <dsp:spPr>
        <a:xfrm>
          <a:off x="105193" y="2419445"/>
          <a:ext cx="1645919" cy="84154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481D96-17AB-488D-B691-740B677D6AB4}">
      <dsp:nvSpPr>
        <dsp:cNvPr id="0" name=""/>
        <dsp:cNvSpPr/>
      </dsp:nvSpPr>
      <dsp:spPr>
        <a:xfrm>
          <a:off x="0" y="3471378"/>
          <a:ext cx="8229599" cy="1051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Hydro Power</a:t>
          </a:r>
          <a:endParaRPr lang="en-US" sz="1600" kern="1200" dirty="0"/>
        </a:p>
      </dsp:txBody>
      <dsp:txXfrm>
        <a:off x="1751113" y="3471378"/>
        <a:ext cx="6478486" cy="1051932"/>
      </dsp:txXfrm>
    </dsp:sp>
    <dsp:sp modelId="{2110E8BC-D18E-4BFA-98AE-47D5EA325EA5}">
      <dsp:nvSpPr>
        <dsp:cNvPr id="0" name=""/>
        <dsp:cNvSpPr/>
      </dsp:nvSpPr>
      <dsp:spPr>
        <a:xfrm>
          <a:off x="105193" y="3576571"/>
          <a:ext cx="1645919" cy="84154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5000" b="-3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6140D5-D0DC-6F4F-B704-8522B35A2AE0}" type="datetimeFigureOut">
              <a:rPr lang="en-US" smtClean="0"/>
              <a:t>1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10814B-7737-E942-A2B0-CF71C6FFE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412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n introduce</a:t>
            </a:r>
            <a:r>
              <a:rPr lang="en-US" baseline="0" dirty="0" smtClean="0"/>
              <a:t> graph from IEA that shows shif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0814B-7737-E942-A2B0-CF71C6FFEFA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34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n introduce</a:t>
            </a:r>
            <a:r>
              <a:rPr lang="en-US" baseline="0" dirty="0" smtClean="0"/>
              <a:t> graph from IEA that shows shif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0814B-7737-E942-A2B0-CF71C6FFEFA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580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39339"/>
            <a:ext cx="7772400" cy="1470025"/>
          </a:xfrm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318933"/>
            <a:ext cx="7772400" cy="1236134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4" name="Picture 13" descr="Head-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029200"/>
            <a:ext cx="9144000" cy="7589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>
            <a:off x="393332" y="666297"/>
            <a:ext cx="8741394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5" name="Picture 14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t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12" name="Picture 11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t"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t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 descr="Generic.jp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" y="6323061"/>
            <a:ext cx="9144000" cy="54021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A40DED-E58E-4D90-B992-C9416E603947}" type="datetimeFigureOut">
              <a:rPr lang="en-US" smtClean="0"/>
              <a:t>1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78FABA2-BAFE-4B59-936F-278294A0BF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792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7072" y="69918"/>
            <a:ext cx="8229600" cy="5578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3200" b="1" i="0" kern="1200">
          <a:solidFill>
            <a:srgbClr val="482A80"/>
          </a:solidFill>
          <a:latin typeface="+mj-lt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/>
        <a:buChar char="•"/>
        <a:defRPr sz="1400" kern="1200">
          <a:solidFill>
            <a:schemeClr val="tx1"/>
          </a:solidFill>
          <a:latin typeface="+mj-lt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/>
        <a:buChar char="–"/>
        <a:defRPr sz="1400" kern="1200">
          <a:solidFill>
            <a:schemeClr val="tx1"/>
          </a:solidFill>
          <a:latin typeface="+mj-lt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/>
        <a:buChar char="•"/>
        <a:defRPr sz="1400" kern="1200">
          <a:solidFill>
            <a:schemeClr val="tx1"/>
          </a:solidFill>
          <a:latin typeface="+mj-lt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/>
        <a:buChar char="–"/>
        <a:defRPr sz="1400" kern="1200">
          <a:solidFill>
            <a:schemeClr val="tx1"/>
          </a:solidFill>
          <a:latin typeface="+mj-lt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/>
        <a:buChar char="»"/>
        <a:defRPr sz="1400" kern="1200">
          <a:solidFill>
            <a:schemeClr val="tx1"/>
          </a:solidFill>
          <a:latin typeface="+mj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.xml"/><Relationship Id="rId7" Type="http://schemas.openxmlformats.org/officeDocument/2006/relationships/diagramData" Target="../diagrams/data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energy.gov/maps/renewable-energy-production-state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microsoft.com/office/2007/relationships/diagramDrawing" Target="../diagrams/drawing2.xml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12" Type="http://schemas.openxmlformats.org/officeDocument/2006/relationships/diagramColors" Target="../diagrams/colors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11" Type="http://schemas.openxmlformats.org/officeDocument/2006/relationships/diagramQuickStyle" Target="../diagrams/quickStyle2.xml"/><Relationship Id="rId5" Type="http://schemas.openxmlformats.org/officeDocument/2006/relationships/tags" Target="../tags/tag7.xml"/><Relationship Id="rId10" Type="http://schemas.openxmlformats.org/officeDocument/2006/relationships/diagramLayout" Target="../diagrams/layout2.xml"/><Relationship Id="rId4" Type="http://schemas.openxmlformats.org/officeDocument/2006/relationships/tags" Target="../tags/tag6.xml"/><Relationship Id="rId9" Type="http://schemas.openxmlformats.org/officeDocument/2006/relationships/diagramData" Target="../diagrams/data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86000"/>
            <a:ext cx="7772400" cy="1470025"/>
          </a:xfrm>
        </p:spPr>
        <p:txBody>
          <a:bodyPr/>
          <a:lstStyle/>
          <a:p>
            <a:r>
              <a:rPr lang="el-GR" sz="3600" dirty="0" smtClean="0"/>
              <a:t>Ανανεώσιμες πηγές ενέργειας και βιώσιμη ανάπτυξη</a:t>
            </a:r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0" y="4876800"/>
            <a:ext cx="9144000" cy="1981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-1"/>
            <a:ext cx="9144000" cy="156044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895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Key Renewable Energy Sources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850444"/>
              </p:ext>
            </p:extLst>
          </p:nvPr>
        </p:nvGraphicFramePr>
        <p:xfrm>
          <a:off x="457200" y="11430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06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Solar Power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Solar energy is generally captured in two forms: via photovoltaic cells for </a:t>
            </a:r>
            <a:r>
              <a:rPr lang="en-US" sz="2400" dirty="0" smtClean="0"/>
              <a:t>electricity generation </a:t>
            </a:r>
            <a:r>
              <a:rPr lang="en-US" sz="2400" dirty="0"/>
              <a:t>or via thermal panels for heating </a:t>
            </a:r>
            <a:r>
              <a:rPr lang="en-US" sz="2400" dirty="0" smtClean="0"/>
              <a:t>purposes</a:t>
            </a:r>
          </a:p>
          <a:p>
            <a:r>
              <a:rPr lang="en-US" sz="2400" dirty="0"/>
              <a:t>R</a:t>
            </a:r>
            <a:r>
              <a:rPr lang="en-US" sz="2400" dirty="0" smtClean="0"/>
              <a:t>emains </a:t>
            </a:r>
            <a:r>
              <a:rPr lang="en-US" sz="2400" dirty="0"/>
              <a:t>an expensive method </a:t>
            </a:r>
            <a:r>
              <a:rPr lang="en-US" sz="2400" dirty="0" smtClean="0"/>
              <a:t>of generating </a:t>
            </a:r>
            <a:r>
              <a:rPr lang="en-US" sz="2400" dirty="0"/>
              <a:t>electricity compared to conventional sources and </a:t>
            </a:r>
            <a:r>
              <a:rPr lang="en-US" sz="2400" dirty="0" smtClean="0"/>
              <a:t>other renewable sources </a:t>
            </a:r>
            <a:r>
              <a:rPr lang="en-US" sz="2400" dirty="0"/>
              <a:t>such as wind or hydro </a:t>
            </a:r>
            <a:r>
              <a:rPr lang="en-US" sz="2400" dirty="0" smtClean="0"/>
              <a:t>power</a:t>
            </a:r>
          </a:p>
          <a:p>
            <a:r>
              <a:rPr lang="en-US" sz="2400" dirty="0" smtClean="0"/>
              <a:t>Recent </a:t>
            </a:r>
            <a:r>
              <a:rPr lang="en-US" sz="2400" dirty="0"/>
              <a:t>advances in technology </a:t>
            </a:r>
            <a:r>
              <a:rPr lang="en-US" sz="2400" dirty="0" smtClean="0"/>
              <a:t>and support </a:t>
            </a:r>
            <a:r>
              <a:rPr lang="en-US" sz="2400" dirty="0"/>
              <a:t>from certain governments have continued to drive solar </a:t>
            </a:r>
            <a:r>
              <a:rPr lang="en-US" sz="2400" dirty="0" smtClean="0"/>
              <a:t>penetration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975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Solar Power - Photovoltaic</a:t>
            </a:r>
            <a:endParaRPr lang="en-US" sz="32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1" y="1295400"/>
            <a:ext cx="5461000" cy="4495800"/>
          </a:xfrm>
        </p:spPr>
      </p:pic>
      <p:sp>
        <p:nvSpPr>
          <p:cNvPr id="5" name="Rounded Rectangular Callout 4"/>
          <p:cNvSpPr/>
          <p:nvPr/>
        </p:nvSpPr>
        <p:spPr>
          <a:xfrm>
            <a:off x="4800600" y="1216152"/>
            <a:ext cx="2667000" cy="993648"/>
          </a:xfrm>
          <a:prstGeom prst="wedgeRoundRectCallout">
            <a:avLst>
              <a:gd name="adj1" fmla="val -66807"/>
              <a:gd name="adj2" fmla="val 104225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urrent is generated through Photovoltaic effect -flow of free electrons in Silicon Panel due to solar </a:t>
            </a:r>
            <a:r>
              <a:rPr lang="en-US" sz="1400" dirty="0" smtClean="0"/>
              <a:t>irradiance</a:t>
            </a:r>
            <a:endParaRPr lang="en-US" sz="1400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6248400" y="4575048"/>
            <a:ext cx="2667000" cy="993648"/>
          </a:xfrm>
          <a:prstGeom prst="wedgeRoundRectCallout">
            <a:avLst>
              <a:gd name="adj1" fmla="val -103690"/>
              <a:gd name="adj2" fmla="val -29629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/>
              <a:t>Direct </a:t>
            </a:r>
            <a:r>
              <a:rPr lang="en-US" sz="1400" dirty="0"/>
              <a:t>current (DC)  is generated which can be stored in a </a:t>
            </a:r>
            <a:r>
              <a:rPr lang="en-US" sz="1400" dirty="0" smtClean="0"/>
              <a:t>battery </a:t>
            </a:r>
            <a:r>
              <a:rPr lang="en-US" sz="1400" dirty="0"/>
              <a:t>or converted to Alternating Current (AC)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39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Solar Power – Solar Thermal </a:t>
            </a:r>
            <a:endParaRPr lang="en-US" sz="32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786620"/>
            <a:ext cx="7586726" cy="5339544"/>
          </a:xfrm>
        </p:spPr>
      </p:pic>
      <p:sp>
        <p:nvSpPr>
          <p:cNvPr id="5" name="Rounded Rectangular Callout 4"/>
          <p:cNvSpPr/>
          <p:nvPr/>
        </p:nvSpPr>
        <p:spPr>
          <a:xfrm>
            <a:off x="1447800" y="783613"/>
            <a:ext cx="3048000" cy="1273788"/>
          </a:xfrm>
          <a:prstGeom prst="wedgeRoundRectCallout">
            <a:avLst>
              <a:gd name="adj1" fmla="val 96310"/>
              <a:gd name="adj2" fmla="val 172546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un’s infrared rays are concentrated through reflecting mirrors on a heating fluid (normally liquid salt) medium, which in turn generates steam to propel turbines</a:t>
            </a: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60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s - Sol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Most widely available source of energy</a:t>
            </a:r>
          </a:p>
          <a:p>
            <a:r>
              <a:rPr lang="en-US" sz="2400" dirty="0" smtClean="0"/>
              <a:t>Not as limited in location siting as other renewable sources such as Wind &amp; Hydro</a:t>
            </a:r>
          </a:p>
          <a:p>
            <a:r>
              <a:rPr lang="en-US" sz="2400" dirty="0" smtClean="0"/>
              <a:t>Largest potential for decentralized power generation</a:t>
            </a:r>
          </a:p>
          <a:p>
            <a:r>
              <a:rPr lang="en-US" sz="2400" dirty="0" smtClean="0"/>
              <a:t>Solar thermal technology characteristics attractive owing to ability to store energy</a:t>
            </a:r>
          </a:p>
          <a:p>
            <a:r>
              <a:rPr lang="en-US" sz="2400" dirty="0" smtClean="0"/>
              <a:t>Scaling up (&amp; down) very easy for Solar PV</a:t>
            </a:r>
          </a:p>
          <a:p>
            <a:r>
              <a:rPr lang="en-US" sz="2400" dirty="0" smtClean="0"/>
              <a:t>Increased demand driving down costs (grid parity?)</a:t>
            </a:r>
          </a:p>
          <a:p>
            <a:endParaRPr lang="en-US" sz="2400" dirty="0" smtClean="0"/>
          </a:p>
          <a:p>
            <a:endParaRPr lang="en-US" sz="24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61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 - Sol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ost expensive form of energy (though not so much if you consider end-to-end costs of other energy sources)</a:t>
            </a:r>
          </a:p>
          <a:p>
            <a:r>
              <a:rPr lang="en-US" sz="2400" dirty="0" smtClean="0"/>
              <a:t>Large up-front Capital investment</a:t>
            </a:r>
          </a:p>
          <a:p>
            <a:r>
              <a:rPr lang="en-US" sz="2400" dirty="0" smtClean="0"/>
              <a:t>Cannot contribute to base-load power (until further improvements in energy storage)</a:t>
            </a:r>
          </a:p>
          <a:p>
            <a:r>
              <a:rPr lang="en-US" sz="2400" dirty="0" smtClean="0"/>
              <a:t>Imposes great stress on the grid owing to fluctuating nature</a:t>
            </a:r>
          </a:p>
          <a:p>
            <a:r>
              <a:rPr lang="en-US" sz="2400" dirty="0" smtClean="0"/>
              <a:t>Solar PV - Difficult to store energy in electric form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135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Trends &amp; Players</a:t>
            </a:r>
            <a:endParaRPr lang="en-US" dirty="0"/>
          </a:p>
        </p:txBody>
      </p:sp>
      <p:pic>
        <p:nvPicPr>
          <p:cNvPr id="6" name="Content Placeholder 5" descr="Beyond 2009, Photovoltaic Markets Are Expected to See Healthy Growth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43" b="8643"/>
          <a:stretch>
            <a:fillRect/>
          </a:stretch>
        </p:blipFill>
        <p:spPr>
          <a:xfrm>
            <a:off x="457200" y="1295400"/>
            <a:ext cx="8229600" cy="4525963"/>
          </a:xfrm>
        </p:spPr>
      </p:pic>
      <p:sp>
        <p:nvSpPr>
          <p:cNvPr id="7" name="TextBox 6"/>
          <p:cNvSpPr txBox="1"/>
          <p:nvPr/>
        </p:nvSpPr>
        <p:spPr>
          <a:xfrm>
            <a:off x="457200" y="838200"/>
            <a:ext cx="70039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eyond 2009, Photovoltaic Markets Are Expected to See Healthy Growth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3400" y="5867400"/>
            <a:ext cx="17081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ource: BCG Analysis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963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ul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</p:spPr>
        <p:txBody>
          <a:bodyPr/>
          <a:lstStyle/>
          <a:p>
            <a:r>
              <a:rPr lang="en-US" sz="2400" dirty="0" smtClean="0"/>
              <a:t>The US market </a:t>
            </a:r>
            <a:r>
              <a:rPr lang="en-US" sz="2400" dirty="0"/>
              <a:t>is regulated by bidding procedures which award very competitive projects </a:t>
            </a:r>
            <a:r>
              <a:rPr lang="en-US" sz="2400" dirty="0" smtClean="0"/>
              <a:t>achieving </a:t>
            </a:r>
            <a:r>
              <a:rPr lang="en-US" sz="2400" dirty="0"/>
              <a:t>costs of $0.12 per kWh or less </a:t>
            </a:r>
          </a:p>
          <a:p>
            <a:r>
              <a:rPr lang="en-US" sz="2400" dirty="0"/>
              <a:t>At the federal level various tax rebate systems are in place, though these could be at risk after the last congressional elections shifted the balance of power in Washington. </a:t>
            </a:r>
          </a:p>
          <a:p>
            <a:r>
              <a:rPr lang="en-US" sz="2400" dirty="0"/>
              <a:t>Depending on the system size, different policy strategies apply. </a:t>
            </a:r>
          </a:p>
          <a:p>
            <a:r>
              <a:rPr lang="en-US" sz="2400" dirty="0"/>
              <a:t>Systems below 1MW can benefit from a net-metering system </a:t>
            </a:r>
          </a:p>
          <a:p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32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dirty="0" smtClean="0"/>
              <a:t>Wind Pow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9906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dirty="0" smtClean="0"/>
              <a:t>Converts kinetic energy for wind to electrical energy</a:t>
            </a:r>
          </a:p>
          <a:p>
            <a:r>
              <a:rPr lang="en-US" sz="2400" dirty="0" smtClean="0"/>
              <a:t>Broadly </a:t>
            </a:r>
            <a:r>
              <a:rPr lang="en-US" sz="2400" dirty="0"/>
              <a:t>serving as the renewable of choice in Europe and the United </a:t>
            </a:r>
            <a:r>
              <a:rPr lang="en-US" sz="2400" dirty="0" smtClean="0"/>
              <a:t>States</a:t>
            </a:r>
          </a:p>
          <a:p>
            <a:r>
              <a:rPr lang="en-US" sz="2400" dirty="0" smtClean="0"/>
              <a:t>Increased size </a:t>
            </a:r>
            <a:r>
              <a:rPr lang="en-US" sz="2400" dirty="0"/>
              <a:t>and higher productivity have enabled wind generation to become an </a:t>
            </a:r>
            <a:r>
              <a:rPr lang="en-US" sz="2400" dirty="0" smtClean="0"/>
              <a:t>increasingly competitive </a:t>
            </a:r>
            <a:r>
              <a:rPr lang="en-US" sz="2400" dirty="0"/>
              <a:t>alternative to more traditional methods of power </a:t>
            </a:r>
            <a:r>
              <a:rPr lang="en-US" sz="2400" dirty="0" smtClean="0"/>
              <a:t>generation</a:t>
            </a:r>
          </a:p>
          <a:p>
            <a:r>
              <a:rPr lang="en-US" sz="2400" dirty="0" smtClean="0"/>
              <a:t>Uncertainty </a:t>
            </a:r>
            <a:r>
              <a:rPr lang="en-US" sz="2400" dirty="0"/>
              <a:t>is the main problem with wind production owing to the inherent </a:t>
            </a:r>
            <a:r>
              <a:rPr lang="en-US" sz="2400" dirty="0" smtClean="0"/>
              <a:t>unpredictability of </a:t>
            </a:r>
            <a:r>
              <a:rPr lang="en-US" sz="2400" dirty="0"/>
              <a:t>weather </a:t>
            </a:r>
            <a:r>
              <a:rPr lang="en-US" sz="2400" dirty="0" smtClean="0"/>
              <a:t>conditions</a:t>
            </a:r>
          </a:p>
          <a:p>
            <a:r>
              <a:rPr lang="en-US" sz="2400" dirty="0"/>
              <a:t>Utilization for wind generation is generally rather low, with most in the 25-35% </a:t>
            </a:r>
            <a:r>
              <a:rPr lang="en-US" sz="2400" dirty="0" smtClean="0"/>
              <a:t>utilization rate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28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dirty="0" smtClean="0"/>
              <a:t>Wind Power</a:t>
            </a:r>
            <a:endParaRPr lang="en-US" dirty="0"/>
          </a:p>
        </p:txBody>
      </p:sp>
      <p:pic>
        <p:nvPicPr>
          <p:cNvPr id="7" name="Content Placeholder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1" t="3074" r="3364" b="3634"/>
          <a:stretch/>
        </p:blipFill>
        <p:spPr>
          <a:xfrm>
            <a:off x="1676400" y="793558"/>
            <a:ext cx="6210864" cy="53786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6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l-GR" dirty="0" smtClean="0"/>
              <a:t>Περιεχόμενα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990600"/>
            <a:ext cx="8229600" cy="4906963"/>
          </a:xfrm>
        </p:spPr>
        <p:txBody>
          <a:bodyPr>
            <a:noAutofit/>
          </a:bodyPr>
          <a:lstStyle/>
          <a:p>
            <a:r>
              <a:rPr lang="el-GR" sz="2800" dirty="0" smtClean="0"/>
              <a:t>Αντιμετώπιση </a:t>
            </a:r>
            <a:r>
              <a:rPr lang="el-GR" sz="2800" dirty="0"/>
              <a:t>της υπερθέρμανσης του πλανήτη </a:t>
            </a:r>
          </a:p>
          <a:p>
            <a:r>
              <a:rPr lang="el-GR" sz="2800" dirty="0" smtClean="0"/>
              <a:t>Γιατί </a:t>
            </a:r>
            <a:r>
              <a:rPr lang="el-GR" sz="2800" dirty="0"/>
              <a:t>ανανεώσιμες πηγές ενέργειας;</a:t>
            </a:r>
          </a:p>
          <a:p>
            <a:r>
              <a:rPr lang="el-GR" sz="2800" dirty="0"/>
              <a:t>Επισκόπηση των ανανεώσιμων πηγών ενέργειας</a:t>
            </a:r>
          </a:p>
          <a:p>
            <a:r>
              <a:rPr lang="el-GR" sz="2800" dirty="0"/>
              <a:t>Ηλιακή ενέργεια</a:t>
            </a:r>
          </a:p>
          <a:p>
            <a:r>
              <a:rPr lang="el-GR" sz="2800" dirty="0"/>
              <a:t>Αιολική ενέργεια</a:t>
            </a:r>
          </a:p>
          <a:p>
            <a:r>
              <a:rPr lang="el-GR" sz="2800" dirty="0" err="1"/>
              <a:t>Βιοκαύσιμα</a:t>
            </a:r>
            <a:endParaRPr lang="el-GR" sz="2800" dirty="0"/>
          </a:p>
          <a:p>
            <a:r>
              <a:rPr lang="el-GR" sz="2800" dirty="0" err="1"/>
              <a:t>Hydro</a:t>
            </a:r>
            <a:endParaRPr lang="el-GR" sz="2800" dirty="0"/>
          </a:p>
          <a:p>
            <a:r>
              <a:rPr lang="el-GR" sz="2800" dirty="0"/>
              <a:t>Οικονομικά των ανανεώσιμων πηγών ενέργειας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 </a:t>
            </a:r>
            <a:endParaRPr lang="en-US" sz="1600" b="1" dirty="0" smtClean="0"/>
          </a:p>
        </p:txBody>
      </p:sp>
      <p:sp>
        <p:nvSpPr>
          <p:cNvPr id="4" name="Rectangle 3"/>
          <p:cNvSpPr/>
          <p:nvPr/>
        </p:nvSpPr>
        <p:spPr>
          <a:xfrm>
            <a:off x="-450574" y="6324600"/>
            <a:ext cx="10591800" cy="1295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517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s - Wi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Smaller Land requirement when compared to Solar, Hydro</a:t>
            </a:r>
          </a:p>
          <a:p>
            <a:r>
              <a:rPr lang="en-US" sz="2800" dirty="0" smtClean="0"/>
              <a:t>Can be built off-shore</a:t>
            </a:r>
          </a:p>
          <a:p>
            <a:r>
              <a:rPr lang="en-US" sz="2800" dirty="0" smtClean="0"/>
              <a:t>Fluctuates less than solar</a:t>
            </a:r>
          </a:p>
          <a:p>
            <a:r>
              <a:rPr lang="en-US" sz="2800" dirty="0" smtClean="0"/>
              <a:t>Cheaper than Solar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5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 - Wi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Premium Onshore sites saturated</a:t>
            </a:r>
          </a:p>
          <a:p>
            <a:r>
              <a:rPr lang="en-US" sz="2400" dirty="0" smtClean="0"/>
              <a:t>Intermittency issue</a:t>
            </a:r>
          </a:p>
          <a:p>
            <a:r>
              <a:rPr lang="en-US" sz="2400" dirty="0" smtClean="0"/>
              <a:t>Offshore towers more expensive</a:t>
            </a:r>
          </a:p>
          <a:p>
            <a:r>
              <a:rPr lang="en-US" sz="2400" dirty="0" smtClean="0"/>
              <a:t>Energy Storage not viable</a:t>
            </a:r>
          </a:p>
          <a:p>
            <a:r>
              <a:rPr lang="en-US" sz="2400" dirty="0" smtClean="0"/>
              <a:t>Cause Noise pollution</a:t>
            </a:r>
          </a:p>
          <a:p>
            <a:endParaRPr lang="en-US" sz="2400" dirty="0" smtClean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71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ed Global Capacity - Wind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95653" y="6093023"/>
            <a:ext cx="53527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ource: Global Wind Energy Council, Global Wind Energy Outlook 2014 </a:t>
            </a:r>
            <a:endParaRPr lang="en-US" sz="1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2523"/>
            <a:ext cx="9144000" cy="52705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40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Trends &amp; Players - Wind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33400" y="5867400"/>
            <a:ext cx="53527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ource: Global Wind Energy Council, Global Wind Energy Outlook 2014 </a:t>
            </a:r>
            <a:endParaRPr lang="en-US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072" y="990599"/>
            <a:ext cx="4341128" cy="4499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9522" y="998206"/>
            <a:ext cx="4261060" cy="449195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93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ulations - US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State Renewable energy policies mandate a certain % of electricity sales come from wind energy sources. Under these 14 states have &gt;1000MW of Wind Capacity</a:t>
            </a:r>
          </a:p>
          <a:p>
            <a:r>
              <a:rPr lang="en-US" sz="2400" dirty="0" smtClean="0"/>
              <a:t>Texas approved a $4.93 billion expansion of the state’s electric grid to bring wind energy to its major cities</a:t>
            </a:r>
          </a:p>
          <a:p>
            <a:r>
              <a:rPr lang="en-US" sz="2400" dirty="0" smtClean="0"/>
              <a:t>Federal production tax credit (PTC) of @21 per </a:t>
            </a:r>
            <a:r>
              <a:rPr lang="en-US" sz="2400" dirty="0" err="1" smtClean="0"/>
              <a:t>MWh</a:t>
            </a:r>
            <a:r>
              <a:rPr lang="en-US" sz="2400" dirty="0" smtClean="0"/>
              <a:t> generated for the first ten years of operation for Wind energy sold</a:t>
            </a:r>
          </a:p>
          <a:p>
            <a:endParaRPr lang="en-US" dirty="0" smtClean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904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dirty="0" smtClean="0"/>
              <a:t>Biofuel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>
            <a:normAutofit/>
          </a:bodyPr>
          <a:lstStyle/>
          <a:p>
            <a:r>
              <a:rPr lang="en-US" sz="2000" dirty="0"/>
              <a:t>Ethanol is an alcohol distilled from plant material (corn in the U.S., sugar cane in </a:t>
            </a:r>
            <a:r>
              <a:rPr lang="en-US" sz="2000" dirty="0" smtClean="0"/>
              <a:t>Brazil, wheat </a:t>
            </a:r>
            <a:r>
              <a:rPr lang="en-US" sz="2000" dirty="0"/>
              <a:t>in Europe) and used as gasoline substitute or </a:t>
            </a:r>
            <a:r>
              <a:rPr lang="en-US" sz="2000" dirty="0" smtClean="0"/>
              <a:t>blend stock</a:t>
            </a:r>
            <a:endParaRPr lang="en-US" sz="2000" dirty="0"/>
          </a:p>
          <a:p>
            <a:r>
              <a:rPr lang="en-US" sz="2000" dirty="0"/>
              <a:t>U.S. and </a:t>
            </a:r>
            <a:r>
              <a:rPr lang="en-US" sz="2000" dirty="0" smtClean="0"/>
              <a:t>Brazil account </a:t>
            </a:r>
            <a:r>
              <a:rPr lang="en-US" sz="2000" dirty="0"/>
              <a:t>for 90% of global ethanol production and </a:t>
            </a:r>
            <a:r>
              <a:rPr lang="en-US" sz="2000" dirty="0" smtClean="0"/>
              <a:t>consumption</a:t>
            </a:r>
          </a:p>
          <a:p>
            <a:r>
              <a:rPr lang="en-US" sz="2000" dirty="0"/>
              <a:t>Ethanol can be blended to around 10% of </a:t>
            </a:r>
            <a:r>
              <a:rPr lang="en-US" sz="2000" dirty="0" smtClean="0"/>
              <a:t>the gasoline </a:t>
            </a:r>
            <a:r>
              <a:rPr lang="en-US" sz="2000" dirty="0"/>
              <a:t>pool without any noticeable impact on </a:t>
            </a:r>
            <a:r>
              <a:rPr lang="en-US" sz="2000" dirty="0" smtClean="0"/>
              <a:t>vehicle performance</a:t>
            </a:r>
            <a:r>
              <a:rPr lang="en-US" sz="2000" dirty="0"/>
              <a:t>, but higher </a:t>
            </a:r>
            <a:r>
              <a:rPr lang="en-US" sz="2000" dirty="0" smtClean="0"/>
              <a:t>blend proportions </a:t>
            </a:r>
            <a:r>
              <a:rPr lang="en-US" sz="2000" dirty="0"/>
              <a:t>require some engine </a:t>
            </a:r>
            <a:r>
              <a:rPr lang="en-US" sz="2000" dirty="0" smtClean="0"/>
              <a:t>modifications</a:t>
            </a:r>
          </a:p>
          <a:p>
            <a:r>
              <a:rPr lang="en-US" sz="2000" dirty="0"/>
              <a:t>Biodiesel is produced by the transformation of animal fat or vegetable oil into </a:t>
            </a:r>
            <a:r>
              <a:rPr lang="en-US" sz="2000" dirty="0" smtClean="0"/>
              <a:t>a conventional </a:t>
            </a:r>
            <a:r>
              <a:rPr lang="en-US" sz="2000" dirty="0"/>
              <a:t>diesel </a:t>
            </a:r>
            <a:r>
              <a:rPr lang="en-US" sz="2000" dirty="0" smtClean="0"/>
              <a:t>substitute</a:t>
            </a:r>
          </a:p>
          <a:p>
            <a:r>
              <a:rPr lang="en-US" sz="2000" dirty="0"/>
              <a:t>Feedstock represents more than 80% of the total costs of producing biodiesel </a:t>
            </a:r>
            <a:r>
              <a:rPr lang="en-US" sz="2000" dirty="0" smtClean="0"/>
              <a:t>compared with </a:t>
            </a:r>
            <a:r>
              <a:rPr lang="en-US" sz="2000" dirty="0"/>
              <a:t>around 60% for </a:t>
            </a:r>
            <a:r>
              <a:rPr lang="en-US" sz="2000" dirty="0" smtClean="0"/>
              <a:t>ethanol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2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Bio-fuel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974272"/>
            <a:ext cx="7583714" cy="43434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600" y="304800"/>
            <a:ext cx="2514599" cy="16763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05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s - Biofue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Inherently renewable</a:t>
            </a:r>
          </a:p>
          <a:p>
            <a:r>
              <a:rPr lang="en-US" sz="2400" dirty="0" smtClean="0"/>
              <a:t>Emit less particulate pollution than traditional petroleum based gasoline and diesel fuels</a:t>
            </a:r>
          </a:p>
          <a:p>
            <a:r>
              <a:rPr lang="en-US" sz="2400" dirty="0" smtClean="0"/>
              <a:t>Easier to transition to without special infrastructure needs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5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 - Biofue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Not enough land space to grow crops for biofuel demand</a:t>
            </a:r>
          </a:p>
          <a:p>
            <a:r>
              <a:rPr lang="en-US" sz="2400" dirty="0" smtClean="0"/>
              <a:t>Question over whether producing them actually requires more energy than they generate</a:t>
            </a:r>
          </a:p>
          <a:p>
            <a:r>
              <a:rPr lang="en-US" sz="2400" dirty="0" smtClean="0"/>
              <a:t>Still polluting when compared to wind or solar</a:t>
            </a:r>
          </a:p>
          <a:p>
            <a:pPr marL="0" indent="0">
              <a:buNone/>
            </a:pP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71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Trends &amp; Players - Biofuels</a:t>
            </a:r>
            <a:endParaRPr lang="en-US" dirty="0"/>
          </a:p>
        </p:txBody>
      </p:sp>
      <p:pic>
        <p:nvPicPr>
          <p:cNvPr id="4" name="Content Placeholder 3" descr="Corn ethanol growth slows as Advanced Biofuels deployment finds its feet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8" b="15578"/>
          <a:stretch>
            <a:fillRect/>
          </a:stretch>
        </p:blipFill>
        <p:spPr>
          <a:xfrm>
            <a:off x="457200" y="1295400"/>
            <a:ext cx="8229600" cy="4525963"/>
          </a:xfrm>
        </p:spPr>
      </p:pic>
      <p:sp>
        <p:nvSpPr>
          <p:cNvPr id="5" name="TextBox 4"/>
          <p:cNvSpPr txBox="1"/>
          <p:nvPr/>
        </p:nvSpPr>
        <p:spPr>
          <a:xfrm>
            <a:off x="533400" y="5867400"/>
            <a:ext cx="60691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ource: </a:t>
            </a:r>
            <a:r>
              <a:rPr lang="en-US" sz="1400" dirty="0"/>
              <a:t>Concentric Energies &amp; Resource Group, </a:t>
            </a:r>
            <a:r>
              <a:rPr lang="en-US" sz="1400" dirty="0" err="1" smtClean="0"/>
              <a:t>Inc</a:t>
            </a:r>
            <a:r>
              <a:rPr lang="en-US" sz="1400" dirty="0"/>
              <a:t> </a:t>
            </a:r>
            <a:r>
              <a:rPr lang="en-US" sz="1400" dirty="0" smtClean="0"/>
              <a:t>– US Biofuels Industry Report</a:t>
            </a: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93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5284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/>
              <a:sym typeface="Calibri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800" dirty="0" smtClean="0"/>
              <a:t>Energy Industry – The Ecosystem</a:t>
            </a:r>
            <a:endParaRPr lang="en-US" sz="2800" dirty="0"/>
          </a:p>
        </p:txBody>
      </p:sp>
      <p:graphicFrame>
        <p:nvGraphicFramePr>
          <p:cNvPr id="13" name="Content Placeholder 1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0443272"/>
              </p:ext>
            </p:extLst>
          </p:nvPr>
        </p:nvGraphicFramePr>
        <p:xfrm>
          <a:off x="457200" y="1600200"/>
          <a:ext cx="84582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835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ydroelectric</a:t>
            </a:r>
            <a:endParaRPr lang="en-US" dirty="0"/>
          </a:p>
        </p:txBody>
      </p:sp>
      <p:pic>
        <p:nvPicPr>
          <p:cNvPr id="5" name="Content Placeholder 4" descr="Hydro Power.gif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29" b="-329"/>
          <a:stretch>
            <a:fillRect/>
          </a:stretch>
        </p:blipFill>
        <p:spPr>
          <a:xfrm>
            <a:off x="457200" y="914400"/>
            <a:ext cx="8229600" cy="5211763"/>
          </a:xfrm>
        </p:spPr>
      </p:pic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47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racteris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525963"/>
          </a:xfrm>
        </p:spPr>
        <p:txBody>
          <a:bodyPr/>
          <a:lstStyle/>
          <a:p>
            <a:r>
              <a:rPr lang="en-US" sz="2800" dirty="0" smtClean="0"/>
              <a:t>Most mature of renewable energies</a:t>
            </a:r>
          </a:p>
          <a:p>
            <a:r>
              <a:rPr lang="en-US" sz="2800" dirty="0" smtClean="0"/>
              <a:t>Largest global contributor amongst all renewable energies</a:t>
            </a:r>
          </a:p>
          <a:p>
            <a:r>
              <a:rPr lang="en-US" sz="2800" dirty="0" smtClean="0"/>
              <a:t>Largely utilizes established technology from other sectors</a:t>
            </a:r>
          </a:p>
          <a:p>
            <a:r>
              <a:rPr lang="en-US" sz="2800" dirty="0" smtClean="0"/>
              <a:t>Can be “switched on-off” at almost immediately </a:t>
            </a:r>
          </a:p>
          <a:p>
            <a:r>
              <a:rPr lang="en-US" sz="2800" dirty="0" smtClean="0"/>
              <a:t>Arguably the Cheapest where available</a:t>
            </a:r>
          </a:p>
          <a:p>
            <a:endParaRPr lang="en-US" dirty="0" smtClean="0"/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77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s - Hydroelectr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 smtClean="0"/>
              <a:t>Cheap electricity</a:t>
            </a:r>
          </a:p>
          <a:p>
            <a:r>
              <a:rPr lang="en-US" sz="3200" dirty="0" smtClean="0"/>
              <a:t>Capable of providing base load power</a:t>
            </a:r>
          </a:p>
          <a:p>
            <a:r>
              <a:rPr lang="en-US" sz="3200" dirty="0" smtClean="0"/>
              <a:t>Capable of large scale production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5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 - Hydroelectr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Environmental concerns. Ecology in dam catchment area destroyed</a:t>
            </a:r>
          </a:p>
          <a:p>
            <a:r>
              <a:rPr lang="en-US" sz="2400" dirty="0" smtClean="0"/>
              <a:t>Humanitarian implications. Settlements in catchment areas have to be relocated</a:t>
            </a:r>
          </a:p>
          <a:p>
            <a:r>
              <a:rPr lang="en-US" sz="2400" dirty="0" smtClean="0"/>
              <a:t>Depends on seasonal nature of water (rain) availability in catchment area</a:t>
            </a:r>
          </a:p>
          <a:p>
            <a:r>
              <a:rPr lang="en-US" sz="2400" dirty="0" smtClean="0"/>
              <a:t>High upfront capital investment costs</a:t>
            </a:r>
          </a:p>
          <a:p>
            <a:r>
              <a:rPr lang="en-US" sz="2400" dirty="0" smtClean="0"/>
              <a:t>Limited in number of potential sites/location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71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Trends &amp; Players - Hydroelectric</a:t>
            </a:r>
            <a:endParaRPr lang="en-US" dirty="0"/>
          </a:p>
        </p:txBody>
      </p:sp>
      <p:pic>
        <p:nvPicPr>
          <p:cNvPr id="4" name="Content Placeholder 3" descr="World net hydroelectric production 2006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4460" b="-24460"/>
          <a:stretch>
            <a:fillRect/>
          </a:stretch>
        </p:blipFill>
        <p:spPr/>
      </p:pic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9309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newables – Economic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84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Clean-Tech Investment </a:t>
            </a:r>
            <a:r>
              <a:rPr lang="en-US" sz="3200" dirty="0"/>
              <a:t>C</a:t>
            </a:r>
            <a:r>
              <a:rPr lang="en-US" sz="3200" dirty="0" smtClean="0"/>
              <a:t>hain</a:t>
            </a:r>
            <a:endParaRPr lang="en-US" sz="32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990600"/>
            <a:ext cx="6934200" cy="504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52400" y="64770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126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ed Renewable Generation by </a:t>
            </a:r>
            <a:r>
              <a:rPr lang="en-US" dirty="0" smtClean="0"/>
              <a:t>State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3"/>
          <a:stretch/>
        </p:blipFill>
        <p:spPr bwMode="auto">
          <a:xfrm>
            <a:off x="533400" y="1066800"/>
            <a:ext cx="7860579" cy="4932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267200" y="2438400"/>
            <a:ext cx="3048000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3"/>
              </a:rPr>
              <a:t>Renewable Energy Generation by State (2014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80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457200"/>
          </a:xfrm>
        </p:spPr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Cost – Renewables versus Non-renewables</a:t>
            </a:r>
            <a:endParaRPr lang="en-US" sz="3200" dirty="0"/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710539711"/>
              </p:ext>
            </p:extLst>
          </p:nvPr>
        </p:nvGraphicFramePr>
        <p:xfrm>
          <a:off x="1600200" y="1524000"/>
          <a:ext cx="662940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754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dirty="0"/>
              <a:t>U.S. Utilization by Plant Type</a:t>
            </a: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4143045535"/>
              </p:ext>
            </p:extLst>
          </p:nvPr>
        </p:nvGraphicFramePr>
        <p:xfrm>
          <a:off x="1600200" y="11430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69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Energy Composition</a:t>
            </a:r>
            <a:endParaRPr lang="en-US" sz="32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838200"/>
            <a:ext cx="8229600" cy="121920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l-GR" sz="2400" dirty="0"/>
              <a:t>Η αμερικανική και ευρωπαϊκή παραγωγική ικανότητα κυριαρχείται από την καύση ορυκτών καυσίμων, αν και </a:t>
            </a:r>
            <a:r>
              <a:rPr lang="el-GR" sz="2400" dirty="0" smtClean="0"/>
              <a:t>παρατηρείται στροφή </a:t>
            </a:r>
            <a:r>
              <a:rPr lang="el-GR" sz="2400" dirty="0"/>
              <a:t>προς τη δημιουργία μη ορυκτών καυσίμων</a:t>
            </a:r>
            <a:endParaRPr lang="en-US" sz="2400" dirty="0" smtClean="0"/>
          </a:p>
          <a:p>
            <a:endParaRPr lang="en-US" sz="2400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4008117123"/>
              </p:ext>
            </p:extLst>
          </p:nvPr>
        </p:nvGraphicFramePr>
        <p:xfrm>
          <a:off x="1371600" y="2209800"/>
          <a:ext cx="6400800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1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74718"/>
            <a:ext cx="8229600" cy="31108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dirty="0"/>
              <a:t>Cost of Capacity per kW -Utilization Adjusted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669619360"/>
              </p:ext>
            </p:extLst>
          </p:nvPr>
        </p:nvGraphicFramePr>
        <p:xfrm>
          <a:off x="1295400" y="1219200"/>
          <a:ext cx="6629400" cy="4602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938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5" y="1414463"/>
            <a:ext cx="7943850" cy="402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54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" y="1252538"/>
            <a:ext cx="7905750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13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457200"/>
            <a:ext cx="3967162" cy="278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872" y="455744"/>
            <a:ext cx="4191000" cy="2820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1" y="3461138"/>
            <a:ext cx="4028206" cy="2907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872" y="3461138"/>
            <a:ext cx="4128438" cy="2907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125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7072" y="69918"/>
            <a:ext cx="8836928" cy="557875"/>
          </a:xfrm>
        </p:spPr>
        <p:txBody>
          <a:bodyPr>
            <a:noAutofit/>
          </a:bodyPr>
          <a:lstStyle/>
          <a:p>
            <a:pPr algn="l"/>
            <a:r>
              <a:rPr lang="el-GR" sz="2400" dirty="0" smtClean="0"/>
              <a:t>Πηγές  για την παραγωγή ηλεκτρικής ενέργειας στις ΗΠΑ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672" y="782754"/>
            <a:ext cx="7389128" cy="554184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77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93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l-GR" dirty="0"/>
              <a:t>Αντιμετώπιση της υπερθέρμανσης του πλανήτη</a:t>
            </a:r>
            <a:endParaRPr lang="en-US" sz="3200" dirty="0"/>
          </a:p>
        </p:txBody>
      </p:sp>
      <p:graphicFrame>
        <p:nvGraphicFramePr>
          <p:cNvPr id="5" name="Diagram 4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3733538"/>
              </p:ext>
            </p:extLst>
          </p:nvPr>
        </p:nvGraphicFramePr>
        <p:xfrm>
          <a:off x="609600" y="1066800"/>
          <a:ext cx="61722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2" name="Oval 21"/>
          <p:cNvSpPr/>
          <p:nvPr/>
        </p:nvSpPr>
        <p:spPr>
          <a:xfrm>
            <a:off x="7086600" y="1828800"/>
            <a:ext cx="1828800" cy="3733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Μείωση εκπομπών </a:t>
            </a:r>
            <a:r>
              <a:rPr lang="en-US" dirty="0"/>
              <a:t>CO2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065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Projected CO</a:t>
            </a:r>
            <a:r>
              <a:rPr lang="en-US" sz="3200" baseline="-25000" dirty="0" smtClean="0"/>
              <a:t>2</a:t>
            </a:r>
            <a:r>
              <a:rPr lang="en-US" sz="3200" dirty="0" smtClean="0"/>
              <a:t> Reductions from Various Sources</a:t>
            </a:r>
            <a:r>
              <a:rPr lang="en-US" sz="3200" baseline="-25000" dirty="0" smtClean="0"/>
              <a:t> </a:t>
            </a:r>
            <a:endParaRPr lang="en-US" sz="3200" baseline="-25000" dirty="0"/>
          </a:p>
        </p:txBody>
      </p:sp>
      <p:graphicFrame>
        <p:nvGraphicFramePr>
          <p:cNvPr id="4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480326"/>
              </p:ext>
            </p:extLst>
          </p:nvPr>
        </p:nvGraphicFramePr>
        <p:xfrm>
          <a:off x="1524000" y="17526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398327" y="5911334"/>
            <a:ext cx="13008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ource - IEA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78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newables - There is an alternativ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57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sz="3200" dirty="0" smtClean="0"/>
              <a:t>Why Renewables?	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r>
              <a:rPr lang="en-US" sz="2800" dirty="0" smtClean="0"/>
              <a:t>Do </a:t>
            </a:r>
            <a:r>
              <a:rPr lang="en-US" sz="2800" dirty="0"/>
              <a:t>not deplete natural resources </a:t>
            </a:r>
          </a:p>
          <a:p>
            <a:r>
              <a:rPr lang="en-US" sz="2800" dirty="0" smtClean="0"/>
              <a:t>Global warming has hit the public (and political?) conscience </a:t>
            </a:r>
          </a:p>
          <a:p>
            <a:r>
              <a:rPr lang="en-US" sz="2800" dirty="0"/>
              <a:t>Effective method to reduce CO</a:t>
            </a:r>
            <a:r>
              <a:rPr lang="en-US" sz="2800" baseline="-25000" dirty="0"/>
              <a:t>2</a:t>
            </a:r>
            <a:r>
              <a:rPr lang="en-US" sz="2800" dirty="0"/>
              <a:t> emissions</a:t>
            </a:r>
          </a:p>
          <a:p>
            <a:r>
              <a:rPr lang="en-US" sz="2800" dirty="0" smtClean="0"/>
              <a:t>Guarantee Energy security </a:t>
            </a:r>
            <a:r>
              <a:rPr lang="en-US" sz="2800" dirty="0"/>
              <a:t>for countries deploying </a:t>
            </a:r>
            <a:r>
              <a:rPr lang="en-US" sz="2800" dirty="0" smtClean="0"/>
              <a:t>it</a:t>
            </a:r>
          </a:p>
          <a:p>
            <a:r>
              <a:rPr lang="en-US" sz="2800" dirty="0" smtClean="0"/>
              <a:t>Legislation being passed making renewables more attractive</a:t>
            </a:r>
            <a:endParaRPr lang="en-US" sz="2400" dirty="0" smtClean="0"/>
          </a:p>
          <a:p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6477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942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3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k7eLomQUGSrVR_kODX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V2jCqxmk.plWCbMbrm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978P8DfUasawfs.wxu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UZPzWetE.0tOcoLx_r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AG9qo2s0i2aaAIGAlbiQ"/>
</p:tagLst>
</file>

<file path=ppt/theme/theme1.xml><?xml version="1.0" encoding="utf-8"?>
<a:theme xmlns:a="http://schemas.openxmlformats.org/drawingml/2006/main" name="Utilities Industry Prim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tilities Industry Primer</Template>
  <TotalTime>1868</TotalTime>
  <Words>1227</Words>
  <Application>Microsoft Office PowerPoint</Application>
  <PresentationFormat>On-screen Show (4:3)</PresentationFormat>
  <Paragraphs>168</Paragraphs>
  <Slides>43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45" baseType="lpstr">
      <vt:lpstr>Utilities Industry Primer</vt:lpstr>
      <vt:lpstr>think-cell Slide</vt:lpstr>
      <vt:lpstr>Ανανεώσιμες πηγές ενέργειας και βιώσιμη ανάπτυξη</vt:lpstr>
      <vt:lpstr>Περιεχόμενα</vt:lpstr>
      <vt:lpstr>Energy Industry – The Ecosystem</vt:lpstr>
      <vt:lpstr>Energy Composition</vt:lpstr>
      <vt:lpstr>Πηγές  για την παραγωγή ηλεκτρικής ενέργειας στις ΗΠΑ</vt:lpstr>
      <vt:lpstr>Αντιμετώπιση της υπερθέρμανσης του πλανήτη</vt:lpstr>
      <vt:lpstr>Projected CO2 Reductions from Various Sources </vt:lpstr>
      <vt:lpstr>Renewables - There is an alternative</vt:lpstr>
      <vt:lpstr>Why Renewables? </vt:lpstr>
      <vt:lpstr>Key Renewable Energy Sources</vt:lpstr>
      <vt:lpstr>Solar Power</vt:lpstr>
      <vt:lpstr>Solar Power - Photovoltaic</vt:lpstr>
      <vt:lpstr>Solar Power – Solar Thermal </vt:lpstr>
      <vt:lpstr>Pros - Solar</vt:lpstr>
      <vt:lpstr>Cons - Solar</vt:lpstr>
      <vt:lpstr>Key Trends &amp; Players</vt:lpstr>
      <vt:lpstr>Regulations</vt:lpstr>
      <vt:lpstr>Wind Power</vt:lpstr>
      <vt:lpstr>Wind Power</vt:lpstr>
      <vt:lpstr>Pros - Wind</vt:lpstr>
      <vt:lpstr>Cons - Wind</vt:lpstr>
      <vt:lpstr>Projected Global Capacity - Wind</vt:lpstr>
      <vt:lpstr>Key Trends &amp; Players - Wind</vt:lpstr>
      <vt:lpstr>Regulations - USA</vt:lpstr>
      <vt:lpstr>Biofuels</vt:lpstr>
      <vt:lpstr>Bio-fuels</vt:lpstr>
      <vt:lpstr>Pros - Biofuels</vt:lpstr>
      <vt:lpstr>Cons - Biofuels</vt:lpstr>
      <vt:lpstr>Key Trends &amp; Players - Biofuels</vt:lpstr>
      <vt:lpstr>Hydroelectric</vt:lpstr>
      <vt:lpstr>Characteristics</vt:lpstr>
      <vt:lpstr>Pros - Hydroelectric</vt:lpstr>
      <vt:lpstr>Cons - Hydroelectric</vt:lpstr>
      <vt:lpstr>Key Trends &amp; Players - Hydroelectric</vt:lpstr>
      <vt:lpstr>Renewables – Economics</vt:lpstr>
      <vt:lpstr>Clean-Tech Investment Chain</vt:lpstr>
      <vt:lpstr>Targeted Renewable Generation by State</vt:lpstr>
      <vt:lpstr>Cost – Renewables versus Non-renewables</vt:lpstr>
      <vt:lpstr>U.S. Utilization by Plant Type</vt:lpstr>
      <vt:lpstr>Cost of Capacity per kW -Utilization Adjusted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jendra</dc:creator>
  <cp:lastModifiedBy>C.Dimitriadis</cp:lastModifiedBy>
  <cp:revision>75</cp:revision>
  <dcterms:created xsi:type="dcterms:W3CDTF">2011-11-05T18:31:46Z</dcterms:created>
  <dcterms:modified xsi:type="dcterms:W3CDTF">2020-01-08T13:02:27Z</dcterms:modified>
</cp:coreProperties>
</file>